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2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41"/>
  </p:notesMasterIdLst>
  <p:handoutMasterIdLst>
    <p:handoutMasterId r:id="rId42"/>
  </p:handoutMasterIdLst>
  <p:sldIdLst>
    <p:sldId id="4460" r:id="rId5"/>
    <p:sldId id="276" r:id="rId6"/>
    <p:sldId id="2147483019" r:id="rId7"/>
    <p:sldId id="2147483020" r:id="rId8"/>
    <p:sldId id="2147483021" r:id="rId9"/>
    <p:sldId id="2147473349" r:id="rId10"/>
    <p:sldId id="2147483009" r:id="rId11"/>
    <p:sldId id="2147483023" r:id="rId12"/>
    <p:sldId id="2147483011" r:id="rId13"/>
    <p:sldId id="2147483024" r:id="rId14"/>
    <p:sldId id="2147483012" r:id="rId15"/>
    <p:sldId id="4474" r:id="rId16"/>
    <p:sldId id="2147483026" r:id="rId17"/>
    <p:sldId id="4509" r:id="rId18"/>
    <p:sldId id="4511" r:id="rId19"/>
    <p:sldId id="2147483027" r:id="rId20"/>
    <p:sldId id="4510" r:id="rId21"/>
    <p:sldId id="4477" r:id="rId22"/>
    <p:sldId id="4504" r:id="rId23"/>
    <p:sldId id="4505" r:id="rId24"/>
    <p:sldId id="4513" r:id="rId25"/>
    <p:sldId id="4493" r:id="rId26"/>
    <p:sldId id="4444" r:id="rId27"/>
    <p:sldId id="4506" r:id="rId28"/>
    <p:sldId id="4501" r:id="rId29"/>
    <p:sldId id="4502" r:id="rId30"/>
    <p:sldId id="4476" r:id="rId31"/>
    <p:sldId id="4500" r:id="rId32"/>
    <p:sldId id="4512" r:id="rId33"/>
    <p:sldId id="4503" r:id="rId34"/>
    <p:sldId id="4508" r:id="rId35"/>
    <p:sldId id="4475" r:id="rId36"/>
    <p:sldId id="2147483016" r:id="rId37"/>
    <p:sldId id="4514" r:id="rId38"/>
    <p:sldId id="2147483018" r:id="rId39"/>
    <p:sldId id="2147483017" r:id="rId40"/>
  </p:sldIdLst>
  <p:sldSz cx="12192000" cy="6858000"/>
  <p:notesSz cx="6858000" cy="9144000"/>
  <p:embeddedFontLst>
    <p:embeddedFont>
      <p:font typeface="Aptos Narrow" panose="020B0604020202020204" charset="0"/>
      <p:regular r:id="rId43"/>
      <p:bold r:id="rId44"/>
      <p:italic r:id="rId45"/>
      <p:boldItalic r:id="rId46"/>
    </p:embeddedFont>
    <p:embeddedFont>
      <p:font typeface="Montserrat" panose="020B0604020202020204" charset="0"/>
      <p:regular r:id="rId47"/>
      <p:bold r:id="rId48"/>
      <p:italic r:id="rId49"/>
      <p:boldItalic r:id="rId50"/>
    </p:embeddedFont>
    <p:embeddedFont>
      <p:font typeface="Montserrat Light" panose="020B0604020202020204" charset="0"/>
      <p:regular r:id="rId51"/>
      <p:italic r:id="rId52"/>
    </p:embeddedFont>
    <p:embeddedFont>
      <p:font typeface="Montserrat Medium" panose="020B0604020202020204" charset="0"/>
      <p:regular r:id="rId53"/>
      <p:italic r:id="rId54"/>
    </p:embeddedFont>
    <p:embeddedFont>
      <p:font typeface="Montserrat SemiBold" panose="020B0604020202020204" charset="0"/>
      <p:regular r:id="rId55"/>
      <p:bold r:id="rId56"/>
      <p:italic r:id="rId57"/>
      <p:boldItalic r:id="rId58"/>
    </p:embeddedFont>
  </p:embeddedFontLst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12EB0E-3C49-F74C-AA23-3208A27A4E60}" name="Lesnefsky, Warren" initials="WL" userId="S::Warren.Lesnefsky@cotiviti.com::4e79a77a-57f7-4898-bc6a-5e138943e248" providerId="AD"/>
  <p188:author id="{10819538-A79B-40B1-639F-641E1DAEFBB3}" name="Waibel, Beth" initials="BW" userId="S::beth.waibel@cotiviti.com::7d27d961-0df1-4ff5-bfc5-fdbcbb0972a3" providerId="AD"/>
  <p188:author id="{B5781461-7C3A-502F-BDD8-E7AB1CF843C0}" name="Hawley, Matthew" initials="HM" userId="S::matthew.hawley@cotiviti.com::54e282e0-22bd-412b-a61a-11fd9ad0b815" providerId="AD"/>
  <p188:author id="{77301BEC-9D62-6177-C3B2-996647C3F4FD}" name="Kabadi, Pooja" initials="PK" userId="S::pooja.kabadi@cotiviti.com::93805713-a592-4406-af14-3f5a66cfed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8C"/>
    <a:srgbClr val="E9E3F5"/>
    <a:srgbClr val="E3DEE9"/>
    <a:srgbClr val="F2F1F8"/>
    <a:srgbClr val="DBDBDB"/>
    <a:srgbClr val="31006F"/>
    <a:srgbClr val="C2BFE0"/>
    <a:srgbClr val="30006F"/>
    <a:srgbClr val="F4F3F7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1A640E-9716-478B-932B-0B0A1BD01B8E}" v="725" dt="2025-11-02T18:12:44.917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font" Target="fonts/font5.fntdata"/><Relationship Id="rId50" Type="http://schemas.openxmlformats.org/officeDocument/2006/relationships/font" Target="fonts/font8.fntdata"/><Relationship Id="rId55" Type="http://schemas.openxmlformats.org/officeDocument/2006/relationships/font" Target="fonts/font13.fntdata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3.fntdata"/><Relationship Id="rId53" Type="http://schemas.openxmlformats.org/officeDocument/2006/relationships/font" Target="fonts/font11.fntdata"/><Relationship Id="rId58" Type="http://schemas.openxmlformats.org/officeDocument/2006/relationships/font" Target="fonts/font16.fntdata"/><Relationship Id="rId66" Type="http://schemas.microsoft.com/office/2018/10/relationships/authors" Target="authors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56" Type="http://schemas.openxmlformats.org/officeDocument/2006/relationships/font" Target="fonts/font14.fntdata"/><Relationship Id="rId64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font" Target="fonts/font9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4.fntdata"/><Relationship Id="rId59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Relationship Id="rId54" Type="http://schemas.openxmlformats.org/officeDocument/2006/relationships/font" Target="fonts/font12.fntdata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7.fntdata"/><Relationship Id="rId57" Type="http://schemas.openxmlformats.org/officeDocument/2006/relationships/font" Target="fonts/font15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2.fntdata"/><Relationship Id="rId52" Type="http://schemas.openxmlformats.org/officeDocument/2006/relationships/font" Target="fonts/font10.fntdata"/><Relationship Id="rId60" Type="http://schemas.openxmlformats.org/officeDocument/2006/relationships/presProps" Target="presProp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badi, Pooja" userId="93805713-a592-4406-af14-3f5a66cfedf0" providerId="ADAL" clId="{3320FFB9-F3A8-4176-AF1C-5FF8BBA63886}"/>
    <pc:docChg chg="undo custSel addSld delSld modSld sldOrd">
      <pc:chgData name="Kabadi, Pooja" userId="93805713-a592-4406-af14-3f5a66cfedf0" providerId="ADAL" clId="{3320FFB9-F3A8-4176-AF1C-5FF8BBA63886}" dt="2025-11-02T18:12:44.917" v="5506" actId="1037"/>
      <pc:docMkLst>
        <pc:docMk/>
      </pc:docMkLst>
      <pc:sldChg chg="modSp mod">
        <pc:chgData name="Kabadi, Pooja" userId="93805713-a592-4406-af14-3f5a66cfedf0" providerId="ADAL" clId="{3320FFB9-F3A8-4176-AF1C-5FF8BBA63886}" dt="2025-11-02T03:54:24.537" v="5472" actId="1076"/>
        <pc:sldMkLst>
          <pc:docMk/>
          <pc:sldMk cId="2209312382" sldId="276"/>
        </pc:sldMkLst>
        <pc:spChg chg="mod">
          <ac:chgData name="Kabadi, Pooja" userId="93805713-a592-4406-af14-3f5a66cfedf0" providerId="ADAL" clId="{3320FFB9-F3A8-4176-AF1C-5FF8BBA63886}" dt="2025-11-02T03:54:24.537" v="5472" actId="1076"/>
          <ac:spMkLst>
            <pc:docMk/>
            <pc:sldMk cId="2209312382" sldId="276"/>
            <ac:spMk id="3" creationId="{FB592D7D-D5AB-4CE1-A63E-D4914614C3AE}"/>
          </ac:spMkLst>
        </pc:spChg>
        <pc:graphicFrameChg chg="mod modGraphic">
          <ac:chgData name="Kabadi, Pooja" userId="93805713-a592-4406-af14-3f5a66cfedf0" providerId="ADAL" clId="{3320FFB9-F3A8-4176-AF1C-5FF8BBA63886}" dt="2025-11-02T03:54:20.057" v="5471" actId="1076"/>
          <ac:graphicFrameMkLst>
            <pc:docMk/>
            <pc:sldMk cId="2209312382" sldId="276"/>
            <ac:graphicFrameMk id="30" creationId="{9951DCF4-7627-4B7C-8711-BB343F81B6EE}"/>
          </ac:graphicFrameMkLst>
        </pc:graphicFrameChg>
      </pc:sldChg>
      <pc:sldChg chg="modSp mod">
        <pc:chgData name="Kabadi, Pooja" userId="93805713-a592-4406-af14-3f5a66cfedf0" providerId="ADAL" clId="{3320FFB9-F3A8-4176-AF1C-5FF8BBA63886}" dt="2025-10-31T04:07:15.773" v="51" actId="20577"/>
        <pc:sldMkLst>
          <pc:docMk/>
          <pc:sldMk cId="3896721984" sldId="4460"/>
        </pc:sldMkLst>
        <pc:spChg chg="mod">
          <ac:chgData name="Kabadi, Pooja" userId="93805713-a592-4406-af14-3f5a66cfedf0" providerId="ADAL" clId="{3320FFB9-F3A8-4176-AF1C-5FF8BBA63886}" dt="2025-10-31T04:06:31.497" v="46" actId="14100"/>
          <ac:spMkLst>
            <pc:docMk/>
            <pc:sldMk cId="3896721984" sldId="4460"/>
            <ac:spMk id="2" creationId="{648D23D0-F432-46AD-2DBD-FD745D14AA15}"/>
          </ac:spMkLst>
        </pc:spChg>
        <pc:spChg chg="mod">
          <ac:chgData name="Kabadi, Pooja" userId="93805713-a592-4406-af14-3f5a66cfedf0" providerId="ADAL" clId="{3320FFB9-F3A8-4176-AF1C-5FF8BBA63886}" dt="2025-10-31T04:06:44.256" v="47" actId="1076"/>
          <ac:spMkLst>
            <pc:docMk/>
            <pc:sldMk cId="3896721984" sldId="4460"/>
            <ac:spMk id="3" creationId="{6DF913E5-740C-B9AD-B222-B4F0586C0B44}"/>
          </ac:spMkLst>
        </pc:spChg>
        <pc:spChg chg="mod">
          <ac:chgData name="Kabadi, Pooja" userId="93805713-a592-4406-af14-3f5a66cfedf0" providerId="ADAL" clId="{3320FFB9-F3A8-4176-AF1C-5FF8BBA63886}" dt="2025-10-31T04:07:15.773" v="51" actId="20577"/>
          <ac:spMkLst>
            <pc:docMk/>
            <pc:sldMk cId="3896721984" sldId="4460"/>
            <ac:spMk id="4" creationId="{64AD07E7-5376-90AB-5766-0A9619499580}"/>
          </ac:spMkLst>
        </pc:spChg>
      </pc:sldChg>
      <pc:sldChg chg="delSp modSp mod">
        <pc:chgData name="Kabadi, Pooja" userId="93805713-a592-4406-af14-3f5a66cfedf0" providerId="ADAL" clId="{3320FFB9-F3A8-4176-AF1C-5FF8BBA63886}" dt="2025-10-30T18:20:46.336" v="1" actId="1076"/>
        <pc:sldMkLst>
          <pc:docMk/>
          <pc:sldMk cId="1738963132" sldId="4474"/>
        </pc:sldMkLst>
        <pc:spChg chg="mod">
          <ac:chgData name="Kabadi, Pooja" userId="93805713-a592-4406-af14-3f5a66cfedf0" providerId="ADAL" clId="{3320FFB9-F3A8-4176-AF1C-5FF8BBA63886}" dt="2025-10-30T18:20:46.336" v="1" actId="1076"/>
          <ac:spMkLst>
            <pc:docMk/>
            <pc:sldMk cId="1738963132" sldId="4474"/>
            <ac:spMk id="44" creationId="{4E0C4778-6F52-5E09-FD6C-450D652C5702}"/>
          </ac:spMkLst>
        </pc:spChg>
        <pc:picChg chg="mod">
          <ac:chgData name="Kabadi, Pooja" userId="93805713-a592-4406-af14-3f5a66cfedf0" providerId="ADAL" clId="{3320FFB9-F3A8-4176-AF1C-5FF8BBA63886}" dt="2025-10-30T18:20:46.336" v="1" actId="1076"/>
          <ac:picMkLst>
            <pc:docMk/>
            <pc:sldMk cId="1738963132" sldId="4474"/>
            <ac:picMk id="4" creationId="{202DD95F-9E5A-4E88-F892-754B87259262}"/>
          </ac:picMkLst>
        </pc:picChg>
        <pc:picChg chg="mod">
          <ac:chgData name="Kabadi, Pooja" userId="93805713-a592-4406-af14-3f5a66cfedf0" providerId="ADAL" clId="{3320FFB9-F3A8-4176-AF1C-5FF8BBA63886}" dt="2025-10-30T18:20:46.336" v="1" actId="1076"/>
          <ac:picMkLst>
            <pc:docMk/>
            <pc:sldMk cId="1738963132" sldId="4474"/>
            <ac:picMk id="6" creationId="{A26AA9F0-93B6-E241-FCC5-1120ADDC4709}"/>
          </ac:picMkLst>
        </pc:picChg>
      </pc:sldChg>
      <pc:sldChg chg="add">
        <pc:chgData name="Kabadi, Pooja" userId="93805713-a592-4406-af14-3f5a66cfedf0" providerId="ADAL" clId="{3320FFB9-F3A8-4176-AF1C-5FF8BBA63886}" dt="2025-11-02T03:23:39.493" v="4955"/>
        <pc:sldMkLst>
          <pc:docMk/>
          <pc:sldMk cId="1520159432" sldId="4476"/>
        </pc:sldMkLst>
      </pc:sldChg>
      <pc:sldChg chg="modSp del mod">
        <pc:chgData name="Kabadi, Pooja" userId="93805713-a592-4406-af14-3f5a66cfedf0" providerId="ADAL" clId="{3320FFB9-F3A8-4176-AF1C-5FF8BBA63886}" dt="2025-11-02T03:23:35.437" v="4954" actId="2696"/>
        <pc:sldMkLst>
          <pc:docMk/>
          <pc:sldMk cId="4103218570" sldId="4476"/>
        </pc:sldMkLst>
        <pc:spChg chg="mod">
          <ac:chgData name="Kabadi, Pooja" userId="93805713-a592-4406-af14-3f5a66cfedf0" providerId="ADAL" clId="{3320FFB9-F3A8-4176-AF1C-5FF8BBA63886}" dt="2025-11-02T03:21:04.789" v="4934" actId="1076"/>
          <ac:spMkLst>
            <pc:docMk/>
            <pc:sldMk cId="4103218570" sldId="4476"/>
            <ac:spMk id="5" creationId="{18CDA457-5FA7-C596-46B9-127385806497}"/>
          </ac:spMkLst>
        </pc:spChg>
      </pc:sldChg>
      <pc:sldChg chg="addSp modSp mod">
        <pc:chgData name="Kabadi, Pooja" userId="93805713-a592-4406-af14-3f5a66cfedf0" providerId="ADAL" clId="{3320FFB9-F3A8-4176-AF1C-5FF8BBA63886}" dt="2025-11-02T03:24:33.172" v="4964" actId="1076"/>
        <pc:sldMkLst>
          <pc:docMk/>
          <pc:sldMk cId="1374411110" sldId="4477"/>
        </pc:sldMkLst>
        <pc:spChg chg="add mod ord">
          <ac:chgData name="Kabadi, Pooja" userId="93805713-a592-4406-af14-3f5a66cfedf0" providerId="ADAL" clId="{3320FFB9-F3A8-4176-AF1C-5FF8BBA63886}" dt="2025-11-02T03:24:33.172" v="4964" actId="1076"/>
          <ac:spMkLst>
            <pc:docMk/>
            <pc:sldMk cId="1374411110" sldId="4477"/>
            <ac:spMk id="3" creationId="{9FE5AEC4-0C1A-FC6F-3693-FE7CC3EEDA13}"/>
          </ac:spMkLst>
        </pc:spChg>
      </pc:sldChg>
      <pc:sldChg chg="add">
        <pc:chgData name="Kabadi, Pooja" userId="93805713-a592-4406-af14-3f5a66cfedf0" providerId="ADAL" clId="{3320FFB9-F3A8-4176-AF1C-5FF8BBA63886}" dt="2025-11-02T03:49:20.476" v="5272"/>
        <pc:sldMkLst>
          <pc:docMk/>
          <pc:sldMk cId="3118184911" sldId="4493"/>
        </pc:sldMkLst>
      </pc:sldChg>
      <pc:sldChg chg="addSp modSp del mod">
        <pc:chgData name="Kabadi, Pooja" userId="93805713-a592-4406-af14-3f5a66cfedf0" providerId="ADAL" clId="{3320FFB9-F3A8-4176-AF1C-5FF8BBA63886}" dt="2025-11-02T03:23:35.437" v="4954" actId="2696"/>
        <pc:sldMkLst>
          <pc:docMk/>
          <pc:sldMk cId="317029690" sldId="4500"/>
        </pc:sldMkLst>
        <pc:spChg chg="add mod ord">
          <ac:chgData name="Kabadi, Pooja" userId="93805713-a592-4406-af14-3f5a66cfedf0" providerId="ADAL" clId="{3320FFB9-F3A8-4176-AF1C-5FF8BBA63886}" dt="2025-11-02T03:21:26.949" v="4940" actId="167"/>
          <ac:spMkLst>
            <pc:docMk/>
            <pc:sldMk cId="317029690" sldId="4500"/>
            <ac:spMk id="3" creationId="{B7F6BEE7-9C2E-EB62-F285-9B5E4A68D88E}"/>
          </ac:spMkLst>
        </pc:spChg>
        <pc:graphicFrameChg chg="mod">
          <ac:chgData name="Kabadi, Pooja" userId="93805713-a592-4406-af14-3f5a66cfedf0" providerId="ADAL" clId="{3320FFB9-F3A8-4176-AF1C-5FF8BBA63886}" dt="2025-11-02T03:21:33.232" v="4942" actId="1036"/>
          <ac:graphicFrameMkLst>
            <pc:docMk/>
            <pc:sldMk cId="317029690" sldId="4500"/>
            <ac:graphicFrameMk id="5" creationId="{7987185B-58E7-0F29-426F-A0CB03145DC2}"/>
          </ac:graphicFrameMkLst>
        </pc:graphicFrameChg>
      </pc:sldChg>
      <pc:sldChg chg="add">
        <pc:chgData name="Kabadi, Pooja" userId="93805713-a592-4406-af14-3f5a66cfedf0" providerId="ADAL" clId="{3320FFB9-F3A8-4176-AF1C-5FF8BBA63886}" dt="2025-11-02T03:23:39.493" v="4955"/>
        <pc:sldMkLst>
          <pc:docMk/>
          <pc:sldMk cId="1177504880" sldId="4500"/>
        </pc:sldMkLst>
      </pc:sldChg>
      <pc:sldChg chg="addSp modSp mod ord">
        <pc:chgData name="Kabadi, Pooja" userId="93805713-a592-4406-af14-3f5a66cfedf0" providerId="ADAL" clId="{3320FFB9-F3A8-4176-AF1C-5FF8BBA63886}" dt="2025-11-02T03:51:22.904" v="5278"/>
        <pc:sldMkLst>
          <pc:docMk/>
          <pc:sldMk cId="1523355156" sldId="4501"/>
        </pc:sldMkLst>
        <pc:spChg chg="add mod ord">
          <ac:chgData name="Kabadi, Pooja" userId="93805713-a592-4406-af14-3f5a66cfedf0" providerId="ADAL" clId="{3320FFB9-F3A8-4176-AF1C-5FF8BBA63886}" dt="2025-11-02T03:24:08.304" v="4959" actId="1076"/>
          <ac:spMkLst>
            <pc:docMk/>
            <pc:sldMk cId="1523355156" sldId="4501"/>
            <ac:spMk id="4" creationId="{4746C8BA-FFB0-1352-D628-6B238E33F017}"/>
          </ac:spMkLst>
        </pc:spChg>
        <pc:graphicFrameChg chg="mod">
          <ac:chgData name="Kabadi, Pooja" userId="93805713-a592-4406-af14-3f5a66cfedf0" providerId="ADAL" clId="{3320FFB9-F3A8-4176-AF1C-5FF8BBA63886}" dt="2025-11-02T03:23:48.613" v="4956" actId="1076"/>
          <ac:graphicFrameMkLst>
            <pc:docMk/>
            <pc:sldMk cId="1523355156" sldId="4501"/>
            <ac:graphicFrameMk id="2" creationId="{1A63EE6D-247C-2A48-09EA-D102F6ED346E}"/>
          </ac:graphicFrameMkLst>
        </pc:graphicFrameChg>
      </pc:sldChg>
      <pc:sldChg chg="addSp modSp mod">
        <pc:chgData name="Kabadi, Pooja" userId="93805713-a592-4406-af14-3f5a66cfedf0" providerId="ADAL" clId="{3320FFB9-F3A8-4176-AF1C-5FF8BBA63886}" dt="2025-11-02T03:24:55.205" v="4976" actId="1036"/>
        <pc:sldMkLst>
          <pc:docMk/>
          <pc:sldMk cId="3679005979" sldId="4504"/>
        </pc:sldMkLst>
        <pc:spChg chg="add mod ord">
          <ac:chgData name="Kabadi, Pooja" userId="93805713-a592-4406-af14-3f5a66cfedf0" providerId="ADAL" clId="{3320FFB9-F3A8-4176-AF1C-5FF8BBA63886}" dt="2025-11-02T03:24:48.261" v="4971" actId="1036"/>
          <ac:spMkLst>
            <pc:docMk/>
            <pc:sldMk cId="3679005979" sldId="4504"/>
            <ac:spMk id="2" creationId="{4CE08E4D-8F48-D92D-9610-1E2581F551DD}"/>
          </ac:spMkLst>
        </pc:spChg>
        <pc:graphicFrameChg chg="mod">
          <ac:chgData name="Kabadi, Pooja" userId="93805713-a592-4406-af14-3f5a66cfedf0" providerId="ADAL" clId="{3320FFB9-F3A8-4176-AF1C-5FF8BBA63886}" dt="2025-11-02T03:24:55.205" v="4976" actId="1036"/>
          <ac:graphicFrameMkLst>
            <pc:docMk/>
            <pc:sldMk cId="3679005979" sldId="4504"/>
            <ac:graphicFrameMk id="4" creationId="{D706A37B-A2FB-73D4-E9DD-1B9EEC048308}"/>
          </ac:graphicFrameMkLst>
        </pc:graphicFrameChg>
        <pc:graphicFrameChg chg="mod">
          <ac:chgData name="Kabadi, Pooja" userId="93805713-a592-4406-af14-3f5a66cfedf0" providerId="ADAL" clId="{3320FFB9-F3A8-4176-AF1C-5FF8BBA63886}" dt="2025-11-02T03:24:55.205" v="4976" actId="1036"/>
          <ac:graphicFrameMkLst>
            <pc:docMk/>
            <pc:sldMk cId="3679005979" sldId="4504"/>
            <ac:graphicFrameMk id="6" creationId="{5B2EDA4B-01F8-947A-385F-2B938361D2E8}"/>
          </ac:graphicFrameMkLst>
        </pc:graphicFrameChg>
        <pc:graphicFrameChg chg="mod">
          <ac:chgData name="Kabadi, Pooja" userId="93805713-a592-4406-af14-3f5a66cfedf0" providerId="ADAL" clId="{3320FFB9-F3A8-4176-AF1C-5FF8BBA63886}" dt="2025-11-02T03:24:55.205" v="4976" actId="1036"/>
          <ac:graphicFrameMkLst>
            <pc:docMk/>
            <pc:sldMk cId="3679005979" sldId="4504"/>
            <ac:graphicFrameMk id="10" creationId="{4EE56929-6F29-08DA-1605-CB4C3924E76B}"/>
          </ac:graphicFrameMkLst>
        </pc:graphicFrameChg>
        <pc:graphicFrameChg chg="mod">
          <ac:chgData name="Kabadi, Pooja" userId="93805713-a592-4406-af14-3f5a66cfedf0" providerId="ADAL" clId="{3320FFB9-F3A8-4176-AF1C-5FF8BBA63886}" dt="2025-11-02T03:24:55.205" v="4976" actId="1036"/>
          <ac:graphicFrameMkLst>
            <pc:docMk/>
            <pc:sldMk cId="3679005979" sldId="4504"/>
            <ac:graphicFrameMk id="11" creationId="{A14C62EB-5AD5-69B5-5911-9A97AB740CDC}"/>
          </ac:graphicFrameMkLst>
        </pc:graphicFrameChg>
      </pc:sldChg>
      <pc:sldChg chg="modSp mod">
        <pc:chgData name="Kabadi, Pooja" userId="93805713-a592-4406-af14-3f5a66cfedf0" providerId="ADAL" clId="{3320FFB9-F3A8-4176-AF1C-5FF8BBA63886}" dt="2025-11-02T03:25:09.625" v="4977" actId="207"/>
        <pc:sldMkLst>
          <pc:docMk/>
          <pc:sldMk cId="1675670083" sldId="4505"/>
        </pc:sldMkLst>
        <pc:spChg chg="mod">
          <ac:chgData name="Kabadi, Pooja" userId="93805713-a592-4406-af14-3f5a66cfedf0" providerId="ADAL" clId="{3320FFB9-F3A8-4176-AF1C-5FF8BBA63886}" dt="2025-11-02T03:25:09.625" v="4977" actId="207"/>
          <ac:spMkLst>
            <pc:docMk/>
            <pc:sldMk cId="1675670083" sldId="4505"/>
            <ac:spMk id="5" creationId="{D78CDA4C-2C72-59F8-5F4C-C03D1FFCEA33}"/>
          </ac:spMkLst>
        </pc:spChg>
      </pc:sldChg>
      <pc:sldChg chg="ord">
        <pc:chgData name="Kabadi, Pooja" userId="93805713-a592-4406-af14-3f5a66cfedf0" providerId="ADAL" clId="{3320FFB9-F3A8-4176-AF1C-5FF8BBA63886}" dt="2025-11-02T03:49:39.796" v="5274"/>
        <pc:sldMkLst>
          <pc:docMk/>
          <pc:sldMk cId="1177362176" sldId="4506"/>
        </pc:sldMkLst>
      </pc:sldChg>
      <pc:sldChg chg="addSp delSp modSp mod">
        <pc:chgData name="Kabadi, Pooja" userId="93805713-a592-4406-af14-3f5a66cfedf0" providerId="ADAL" clId="{3320FFB9-F3A8-4176-AF1C-5FF8BBA63886}" dt="2025-11-01T20:21:03.817" v="3317" actId="21"/>
        <pc:sldMkLst>
          <pc:docMk/>
          <pc:sldMk cId="1357967310" sldId="4509"/>
        </pc:sldMkLst>
        <pc:spChg chg="mod">
          <ac:chgData name="Kabadi, Pooja" userId="93805713-a592-4406-af14-3f5a66cfedf0" providerId="ADAL" clId="{3320FFB9-F3A8-4176-AF1C-5FF8BBA63886}" dt="2025-11-01T20:20:48.169" v="3314" actId="14100"/>
          <ac:spMkLst>
            <pc:docMk/>
            <pc:sldMk cId="1357967310" sldId="4509"/>
            <ac:spMk id="7" creationId="{CB0F68FA-B177-EAA9-D6F5-F7B172A08881}"/>
          </ac:spMkLst>
        </pc:spChg>
        <pc:picChg chg="add del mod">
          <ac:chgData name="Kabadi, Pooja" userId="93805713-a592-4406-af14-3f5a66cfedf0" providerId="ADAL" clId="{3320FFB9-F3A8-4176-AF1C-5FF8BBA63886}" dt="2025-11-01T20:21:03.817" v="3317" actId="21"/>
          <ac:picMkLst>
            <pc:docMk/>
            <pc:sldMk cId="1357967310" sldId="4509"/>
            <ac:picMk id="8" creationId="{A14D44DA-1F48-361B-35A4-30D728AA111C}"/>
          </ac:picMkLst>
        </pc:picChg>
        <pc:picChg chg="add mod modCrop">
          <ac:chgData name="Kabadi, Pooja" userId="93805713-a592-4406-af14-3f5a66cfedf0" providerId="ADAL" clId="{3320FFB9-F3A8-4176-AF1C-5FF8BBA63886}" dt="2025-11-01T20:21:00.846" v="3316" actId="1037"/>
          <ac:picMkLst>
            <pc:docMk/>
            <pc:sldMk cId="1357967310" sldId="4509"/>
            <ac:picMk id="10" creationId="{26139DAD-FABC-8EF3-5A25-BEFB2923F7BA}"/>
          </ac:picMkLst>
        </pc:picChg>
        <pc:picChg chg="del">
          <ac:chgData name="Kabadi, Pooja" userId="93805713-a592-4406-af14-3f5a66cfedf0" providerId="ADAL" clId="{3320FFB9-F3A8-4176-AF1C-5FF8BBA63886}" dt="2025-11-01T20:20:36.713" v="3312" actId="478"/>
          <ac:picMkLst>
            <pc:docMk/>
            <pc:sldMk cId="1357967310" sldId="4509"/>
            <ac:picMk id="41" creationId="{1D72E623-8A63-3EB4-77E7-A2F433D9B639}"/>
          </ac:picMkLst>
        </pc:picChg>
      </pc:sldChg>
      <pc:sldChg chg="modSp mod">
        <pc:chgData name="Kabadi, Pooja" userId="93805713-a592-4406-af14-3f5a66cfedf0" providerId="ADAL" clId="{3320FFB9-F3A8-4176-AF1C-5FF8BBA63886}" dt="2025-11-02T03:55:02.154" v="5476" actId="403"/>
        <pc:sldMkLst>
          <pc:docMk/>
          <pc:sldMk cId="2647907746" sldId="4510"/>
        </pc:sldMkLst>
        <pc:spChg chg="mod">
          <ac:chgData name="Kabadi, Pooja" userId="93805713-a592-4406-af14-3f5a66cfedf0" providerId="ADAL" clId="{3320FFB9-F3A8-4176-AF1C-5FF8BBA63886}" dt="2025-11-02T03:54:50.545" v="5473" actId="1076"/>
          <ac:spMkLst>
            <pc:docMk/>
            <pc:sldMk cId="2647907746" sldId="4510"/>
            <ac:spMk id="3" creationId="{FF4B19E8-DA0D-8490-8A1E-39A8E311C6F3}"/>
          </ac:spMkLst>
        </pc:spChg>
        <pc:spChg chg="mod">
          <ac:chgData name="Kabadi, Pooja" userId="93805713-a592-4406-af14-3f5a66cfedf0" providerId="ADAL" clId="{3320FFB9-F3A8-4176-AF1C-5FF8BBA63886}" dt="2025-11-02T03:54:50.545" v="5473" actId="1076"/>
          <ac:spMkLst>
            <pc:docMk/>
            <pc:sldMk cId="2647907746" sldId="4510"/>
            <ac:spMk id="12" creationId="{1F1EDCE2-F4D5-A062-22D6-9BE12537C403}"/>
          </ac:spMkLst>
        </pc:spChg>
        <pc:graphicFrameChg chg="mod">
          <ac:chgData name="Kabadi, Pooja" userId="93805713-a592-4406-af14-3f5a66cfedf0" providerId="ADAL" clId="{3320FFB9-F3A8-4176-AF1C-5FF8BBA63886}" dt="2025-11-02T03:54:50.545" v="5473" actId="1076"/>
          <ac:graphicFrameMkLst>
            <pc:docMk/>
            <pc:sldMk cId="2647907746" sldId="4510"/>
            <ac:graphicFrameMk id="4" creationId="{F434C667-805F-A86F-C774-5E3E5A86F4EA}"/>
          </ac:graphicFrameMkLst>
        </pc:graphicFrameChg>
        <pc:graphicFrameChg chg="mod modGraphic">
          <ac:chgData name="Kabadi, Pooja" userId="93805713-a592-4406-af14-3f5a66cfedf0" providerId="ADAL" clId="{3320FFB9-F3A8-4176-AF1C-5FF8BBA63886}" dt="2025-11-02T03:55:02.154" v="5476" actId="403"/>
          <ac:graphicFrameMkLst>
            <pc:docMk/>
            <pc:sldMk cId="2647907746" sldId="4510"/>
            <ac:graphicFrameMk id="13" creationId="{84567CE1-E8A0-3142-84F1-44DBF5E215A6}"/>
          </ac:graphicFrameMkLst>
        </pc:graphicFrameChg>
      </pc:sldChg>
      <pc:sldChg chg="addSp delSp modSp mod">
        <pc:chgData name="Kabadi, Pooja" userId="93805713-a592-4406-af14-3f5a66cfedf0" providerId="ADAL" clId="{3320FFB9-F3A8-4176-AF1C-5FF8BBA63886}" dt="2025-11-01T20:21:57.687" v="3327" actId="1076"/>
        <pc:sldMkLst>
          <pc:docMk/>
          <pc:sldMk cId="2441354881" sldId="4511"/>
        </pc:sldMkLst>
        <pc:picChg chg="del">
          <ac:chgData name="Kabadi, Pooja" userId="93805713-a592-4406-af14-3f5a66cfedf0" providerId="ADAL" clId="{3320FFB9-F3A8-4176-AF1C-5FF8BBA63886}" dt="2025-11-01T20:21:52.870" v="3326" actId="478"/>
          <ac:picMkLst>
            <pc:docMk/>
            <pc:sldMk cId="2441354881" sldId="4511"/>
            <ac:picMk id="6" creationId="{993170EF-921C-72E4-3FC2-8BD691F650D4}"/>
          </ac:picMkLst>
        </pc:picChg>
        <pc:picChg chg="add mod modCrop">
          <ac:chgData name="Kabadi, Pooja" userId="93805713-a592-4406-af14-3f5a66cfedf0" providerId="ADAL" clId="{3320FFB9-F3A8-4176-AF1C-5FF8BBA63886}" dt="2025-11-01T20:21:57.687" v="3327" actId="1076"/>
          <ac:picMkLst>
            <pc:docMk/>
            <pc:sldMk cId="2441354881" sldId="4511"/>
            <ac:picMk id="8" creationId="{A14D44DA-1F48-361B-35A4-30D728AA111C}"/>
          </ac:picMkLst>
        </pc:picChg>
      </pc:sldChg>
      <pc:sldChg chg="addSp delSp modSp mod">
        <pc:chgData name="Kabadi, Pooja" userId="93805713-a592-4406-af14-3f5a66cfedf0" providerId="ADAL" clId="{3320FFB9-F3A8-4176-AF1C-5FF8BBA63886}" dt="2025-11-02T03:48:47.878" v="5269" actId="1035"/>
        <pc:sldMkLst>
          <pc:docMk/>
          <pc:sldMk cId="3763876864" sldId="4513"/>
        </pc:sldMkLst>
        <pc:spChg chg="del">
          <ac:chgData name="Kabadi, Pooja" userId="93805713-a592-4406-af14-3f5a66cfedf0" providerId="ADAL" clId="{3320FFB9-F3A8-4176-AF1C-5FF8BBA63886}" dt="2025-11-02T03:25:23.385" v="4978" actId="478"/>
          <ac:spMkLst>
            <pc:docMk/>
            <pc:sldMk cId="3763876864" sldId="4513"/>
            <ac:spMk id="2" creationId="{48DB689F-BEA9-1560-351C-1C8E04700D34}"/>
          </ac:spMkLst>
        </pc:spChg>
        <pc:spChg chg="del">
          <ac:chgData name="Kabadi, Pooja" userId="93805713-a592-4406-af14-3f5a66cfedf0" providerId="ADAL" clId="{3320FFB9-F3A8-4176-AF1C-5FF8BBA63886}" dt="2025-11-02T03:25:23.385" v="4978" actId="478"/>
          <ac:spMkLst>
            <pc:docMk/>
            <pc:sldMk cId="3763876864" sldId="4513"/>
            <ac:spMk id="3" creationId="{363BDAE1-2397-EDE1-59DE-402623E3E782}"/>
          </ac:spMkLst>
        </pc:spChg>
        <pc:spChg chg="del">
          <ac:chgData name="Kabadi, Pooja" userId="93805713-a592-4406-af14-3f5a66cfedf0" providerId="ADAL" clId="{3320FFB9-F3A8-4176-AF1C-5FF8BBA63886}" dt="2025-11-02T03:25:23.385" v="4978" actId="478"/>
          <ac:spMkLst>
            <pc:docMk/>
            <pc:sldMk cId="3763876864" sldId="4513"/>
            <ac:spMk id="4" creationId="{0BE53232-9A41-ADF2-965F-C64B44AE9CA4}"/>
          </ac:spMkLst>
        </pc:spChg>
        <pc:spChg chg="del">
          <ac:chgData name="Kabadi, Pooja" userId="93805713-a592-4406-af14-3f5a66cfedf0" providerId="ADAL" clId="{3320FFB9-F3A8-4176-AF1C-5FF8BBA63886}" dt="2025-11-02T03:25:23.385" v="4978" actId="478"/>
          <ac:spMkLst>
            <pc:docMk/>
            <pc:sldMk cId="3763876864" sldId="4513"/>
            <ac:spMk id="5" creationId="{7F2B095C-C625-8107-3384-922A97FFE739}"/>
          </ac:spMkLst>
        </pc:spChg>
        <pc:spChg chg="add mod">
          <ac:chgData name="Kabadi, Pooja" userId="93805713-a592-4406-af14-3f5a66cfedf0" providerId="ADAL" clId="{3320FFB9-F3A8-4176-AF1C-5FF8BBA63886}" dt="2025-11-02T03:42:54.280" v="5216" actId="14100"/>
          <ac:spMkLst>
            <pc:docMk/>
            <pc:sldMk cId="3763876864" sldId="4513"/>
            <ac:spMk id="6" creationId="{5BFFF88C-7D9A-DC8B-D7D7-BFE037523B1E}"/>
          </ac:spMkLst>
        </pc:spChg>
        <pc:spChg chg="add mod">
          <ac:chgData name="Kabadi, Pooja" userId="93805713-a592-4406-af14-3f5a66cfedf0" providerId="ADAL" clId="{3320FFB9-F3A8-4176-AF1C-5FF8BBA63886}" dt="2025-11-02T03:43:34.933" v="5227" actId="14100"/>
          <ac:spMkLst>
            <pc:docMk/>
            <pc:sldMk cId="3763876864" sldId="4513"/>
            <ac:spMk id="7" creationId="{43D9881E-9566-1817-63E3-0FB87903245B}"/>
          </ac:spMkLst>
        </pc:spChg>
        <pc:spChg chg="add del mod">
          <ac:chgData name="Kabadi, Pooja" userId="93805713-a592-4406-af14-3f5a66cfedf0" providerId="ADAL" clId="{3320FFB9-F3A8-4176-AF1C-5FF8BBA63886}" dt="2025-11-02T03:35:09.001" v="4996" actId="478"/>
          <ac:spMkLst>
            <pc:docMk/>
            <pc:sldMk cId="3763876864" sldId="4513"/>
            <ac:spMk id="8" creationId="{3909BCA6-93B0-DF6C-FCEB-5A3AB25F017C}"/>
          </ac:spMkLst>
        </pc:spChg>
        <pc:spChg chg="add del mod">
          <ac:chgData name="Kabadi, Pooja" userId="93805713-a592-4406-af14-3f5a66cfedf0" providerId="ADAL" clId="{3320FFB9-F3A8-4176-AF1C-5FF8BBA63886}" dt="2025-11-02T03:35:17.872" v="4999" actId="478"/>
          <ac:spMkLst>
            <pc:docMk/>
            <pc:sldMk cId="3763876864" sldId="4513"/>
            <ac:spMk id="9" creationId="{415067E2-7723-108D-6E86-58A04D1F4287}"/>
          </ac:spMkLst>
        </pc:spChg>
        <pc:spChg chg="add mod">
          <ac:chgData name="Kabadi, Pooja" userId="93805713-a592-4406-af14-3f5a66cfedf0" providerId="ADAL" clId="{3320FFB9-F3A8-4176-AF1C-5FF8BBA63886}" dt="2025-11-02T03:42:49.914" v="5215" actId="14100"/>
          <ac:spMkLst>
            <pc:docMk/>
            <pc:sldMk cId="3763876864" sldId="4513"/>
            <ac:spMk id="10" creationId="{572C0516-7251-A028-DEE1-1ED6F2D23609}"/>
          </ac:spMkLst>
        </pc:spChg>
        <pc:spChg chg="add del mod">
          <ac:chgData name="Kabadi, Pooja" userId="93805713-a592-4406-af14-3f5a66cfedf0" providerId="ADAL" clId="{3320FFB9-F3A8-4176-AF1C-5FF8BBA63886}" dt="2025-11-02T03:43:31.050" v="5226" actId="478"/>
          <ac:spMkLst>
            <pc:docMk/>
            <pc:sldMk cId="3763876864" sldId="4513"/>
            <ac:spMk id="11" creationId="{633AECBF-D6B1-1FF1-E60E-DF2D5C7E1E52}"/>
          </ac:spMkLst>
        </pc:spChg>
        <pc:spChg chg="add mod">
          <ac:chgData name="Kabadi, Pooja" userId="93805713-a592-4406-af14-3f5a66cfedf0" providerId="ADAL" clId="{3320FFB9-F3A8-4176-AF1C-5FF8BBA63886}" dt="2025-11-02T03:42:57.026" v="5217" actId="14100"/>
          <ac:spMkLst>
            <pc:docMk/>
            <pc:sldMk cId="3763876864" sldId="4513"/>
            <ac:spMk id="12" creationId="{28D5FEC1-5088-5374-4B81-2A8E6DB03942}"/>
          </ac:spMkLst>
        </pc:spChg>
        <pc:spChg chg="add mod">
          <ac:chgData name="Kabadi, Pooja" userId="93805713-a592-4406-af14-3f5a66cfedf0" providerId="ADAL" clId="{3320FFB9-F3A8-4176-AF1C-5FF8BBA63886}" dt="2025-11-02T03:43:41.995" v="5229" actId="1076"/>
          <ac:spMkLst>
            <pc:docMk/>
            <pc:sldMk cId="3763876864" sldId="4513"/>
            <ac:spMk id="13" creationId="{F1EB7D46-BF1D-FEF7-190A-D3845E5EE7C0}"/>
          </ac:spMkLst>
        </pc:spChg>
        <pc:spChg chg="add del mod">
          <ac:chgData name="Kabadi, Pooja" userId="93805713-a592-4406-af14-3f5a66cfedf0" providerId="ADAL" clId="{3320FFB9-F3A8-4176-AF1C-5FF8BBA63886}" dt="2025-11-02T03:47:14.073" v="5242"/>
          <ac:spMkLst>
            <pc:docMk/>
            <pc:sldMk cId="3763876864" sldId="4513"/>
            <ac:spMk id="14" creationId="{7517B8B2-1307-1A90-D73F-CE041589C5ED}"/>
          </ac:spMkLst>
        </pc:spChg>
        <pc:spChg chg="add mod">
          <ac:chgData name="Kabadi, Pooja" userId="93805713-a592-4406-af14-3f5a66cfedf0" providerId="ADAL" clId="{3320FFB9-F3A8-4176-AF1C-5FF8BBA63886}" dt="2025-11-02T03:37:52.308" v="5104"/>
          <ac:spMkLst>
            <pc:docMk/>
            <pc:sldMk cId="3763876864" sldId="4513"/>
            <ac:spMk id="15" creationId="{E913BB6A-D75D-A915-C69B-7E647DC8D42E}"/>
          </ac:spMkLst>
        </pc:spChg>
        <pc:spChg chg="add del mod">
          <ac:chgData name="Kabadi, Pooja" userId="93805713-a592-4406-af14-3f5a66cfedf0" providerId="ADAL" clId="{3320FFB9-F3A8-4176-AF1C-5FF8BBA63886}" dt="2025-11-02T03:42:36.650" v="5211"/>
          <ac:spMkLst>
            <pc:docMk/>
            <pc:sldMk cId="3763876864" sldId="4513"/>
            <ac:spMk id="16" creationId="{DDBF73A0-F94F-DA7E-2B8F-F829E35E0D78}"/>
          </ac:spMkLst>
        </pc:spChg>
        <pc:spChg chg="add del mod">
          <ac:chgData name="Kabadi, Pooja" userId="93805713-a592-4406-af14-3f5a66cfedf0" providerId="ADAL" clId="{3320FFB9-F3A8-4176-AF1C-5FF8BBA63886}" dt="2025-11-02T03:42:36.650" v="5213"/>
          <ac:spMkLst>
            <pc:docMk/>
            <pc:sldMk cId="3763876864" sldId="4513"/>
            <ac:spMk id="17" creationId="{3AA0B9E5-CCC9-4C16-6E66-92B2FB7E2127}"/>
          </ac:spMkLst>
        </pc:spChg>
        <pc:spChg chg="add del mod">
          <ac:chgData name="Kabadi, Pooja" userId="93805713-a592-4406-af14-3f5a66cfedf0" providerId="ADAL" clId="{3320FFB9-F3A8-4176-AF1C-5FF8BBA63886}" dt="2025-11-02T03:47:47.184" v="5248" actId="478"/>
          <ac:spMkLst>
            <pc:docMk/>
            <pc:sldMk cId="3763876864" sldId="4513"/>
            <ac:spMk id="18" creationId="{23E42BA1-AE54-33A6-FF51-6111EE280250}"/>
          </ac:spMkLst>
        </pc:spChg>
        <pc:spChg chg="add mod">
          <ac:chgData name="Kabadi, Pooja" userId="93805713-a592-4406-af14-3f5a66cfedf0" providerId="ADAL" clId="{3320FFB9-F3A8-4176-AF1C-5FF8BBA63886}" dt="2025-11-02T03:43:22.513" v="5223" actId="1076"/>
          <ac:spMkLst>
            <pc:docMk/>
            <pc:sldMk cId="3763876864" sldId="4513"/>
            <ac:spMk id="19" creationId="{EBDF402D-81E5-BB28-EF12-EA73581AAED3}"/>
          </ac:spMkLst>
        </pc:spChg>
        <pc:spChg chg="add mod">
          <ac:chgData name="Kabadi, Pooja" userId="93805713-a592-4406-af14-3f5a66cfedf0" providerId="ADAL" clId="{3320FFB9-F3A8-4176-AF1C-5FF8BBA63886}" dt="2025-11-02T03:46:49.182" v="5236"/>
          <ac:spMkLst>
            <pc:docMk/>
            <pc:sldMk cId="3763876864" sldId="4513"/>
            <ac:spMk id="20" creationId="{FAC7FA0C-83FB-A46C-3742-F1D12D9D8874}"/>
          </ac:spMkLst>
        </pc:spChg>
        <pc:spChg chg="add mod">
          <ac:chgData name="Kabadi, Pooja" userId="93805713-a592-4406-af14-3f5a66cfedf0" providerId="ADAL" clId="{3320FFB9-F3A8-4176-AF1C-5FF8BBA63886}" dt="2025-11-02T03:47:03.918" v="5241" actId="27636"/>
          <ac:spMkLst>
            <pc:docMk/>
            <pc:sldMk cId="3763876864" sldId="4513"/>
            <ac:spMk id="21" creationId="{D998D379-CE95-4413-7BF1-BFAEDFB756C4}"/>
          </ac:spMkLst>
        </pc:spChg>
        <pc:spChg chg="add mod">
          <ac:chgData name="Kabadi, Pooja" userId="93805713-a592-4406-af14-3f5a66cfedf0" providerId="ADAL" clId="{3320FFB9-F3A8-4176-AF1C-5FF8BBA63886}" dt="2025-11-02T03:48:47.878" v="5269" actId="1035"/>
          <ac:spMkLst>
            <pc:docMk/>
            <pc:sldMk cId="3763876864" sldId="4513"/>
            <ac:spMk id="23" creationId="{BA468C37-8692-6978-C049-30B99F9EF3EC}"/>
          </ac:spMkLst>
        </pc:spChg>
      </pc:sldChg>
      <pc:sldChg chg="ord">
        <pc:chgData name="Kabadi, Pooja" userId="93805713-a592-4406-af14-3f5a66cfedf0" providerId="ADAL" clId="{3320FFB9-F3A8-4176-AF1C-5FF8BBA63886}" dt="2025-11-01T04:35:50.562" v="1483"/>
        <pc:sldMkLst>
          <pc:docMk/>
          <pc:sldMk cId="1679291330" sldId="2147473349"/>
        </pc:sldMkLst>
      </pc:sldChg>
      <pc:sldChg chg="ord">
        <pc:chgData name="Kabadi, Pooja" userId="93805713-a592-4406-af14-3f5a66cfedf0" providerId="ADAL" clId="{3320FFB9-F3A8-4176-AF1C-5FF8BBA63886}" dt="2025-11-01T04:35:50.562" v="1483"/>
        <pc:sldMkLst>
          <pc:docMk/>
          <pc:sldMk cId="1900800771" sldId="2147483009"/>
        </pc:sldMkLst>
      </pc:sldChg>
      <pc:sldChg chg="ord">
        <pc:chgData name="Kabadi, Pooja" userId="93805713-a592-4406-af14-3f5a66cfedf0" providerId="ADAL" clId="{3320FFB9-F3A8-4176-AF1C-5FF8BBA63886}" dt="2025-11-01T04:35:50.562" v="1483"/>
        <pc:sldMkLst>
          <pc:docMk/>
          <pc:sldMk cId="3785593622" sldId="2147483011"/>
        </pc:sldMkLst>
      </pc:sldChg>
      <pc:sldChg chg="ord">
        <pc:chgData name="Kabadi, Pooja" userId="93805713-a592-4406-af14-3f5a66cfedf0" providerId="ADAL" clId="{3320FFB9-F3A8-4176-AF1C-5FF8BBA63886}" dt="2025-10-31T23:18:54.410" v="1059"/>
        <pc:sldMkLst>
          <pc:docMk/>
          <pc:sldMk cId="1932504343" sldId="2147483012"/>
        </pc:sldMkLst>
      </pc:sldChg>
      <pc:sldChg chg="addSp delSp modSp new mod">
        <pc:chgData name="Kabadi, Pooja" userId="93805713-a592-4406-af14-3f5a66cfedf0" providerId="ADAL" clId="{3320FFB9-F3A8-4176-AF1C-5FF8BBA63886}" dt="2025-11-02T00:44:16.265" v="4832" actId="113"/>
        <pc:sldMkLst>
          <pc:docMk/>
          <pc:sldMk cId="2614728908" sldId="2147483019"/>
        </pc:sldMkLst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2" creationId="{A7262FC3-E1CE-4A3A-46F4-83223444D977}"/>
          </ac:spMkLst>
        </pc:spChg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4" creationId="{ACB280B5-BCB9-3AC6-1295-69A2EA5C9AA7}"/>
          </ac:spMkLst>
        </pc:spChg>
        <pc:spChg chg="add mod ord">
          <ac:chgData name="Kabadi, Pooja" userId="93805713-a592-4406-af14-3f5a66cfedf0" providerId="ADAL" clId="{3320FFB9-F3A8-4176-AF1C-5FF8BBA63886}" dt="2025-10-31T22:45:45.112" v="729" actId="1076"/>
          <ac:spMkLst>
            <pc:docMk/>
            <pc:sldMk cId="2614728908" sldId="2147483019"/>
            <ac:spMk id="6" creationId="{38EB16AE-F8C5-3790-4F19-BEE6CB013BC6}"/>
          </ac:spMkLst>
        </pc:spChg>
        <pc:spChg chg="add mod">
          <ac:chgData name="Kabadi, Pooja" userId="93805713-a592-4406-af14-3f5a66cfedf0" providerId="ADAL" clId="{3320FFB9-F3A8-4176-AF1C-5FF8BBA63886}" dt="2025-10-31T22:49:58.420" v="743" actId="14100"/>
          <ac:spMkLst>
            <pc:docMk/>
            <pc:sldMk cId="2614728908" sldId="2147483019"/>
            <ac:spMk id="7" creationId="{7310C4FE-9A97-705D-5B46-F53C162E9E6C}"/>
          </ac:spMkLst>
        </pc:spChg>
        <pc:spChg chg="add mod">
          <ac:chgData name="Kabadi, Pooja" userId="93805713-a592-4406-af14-3f5a66cfedf0" providerId="ADAL" clId="{3320FFB9-F3A8-4176-AF1C-5FF8BBA63886}" dt="2025-10-31T22:45:45.112" v="729" actId="1076"/>
          <ac:spMkLst>
            <pc:docMk/>
            <pc:sldMk cId="2614728908" sldId="2147483019"/>
            <ac:spMk id="8" creationId="{136F2DA9-08ED-6659-CFF2-28E8E898A980}"/>
          </ac:spMkLst>
        </pc:spChg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9" creationId="{20697885-9874-0A49-D750-3CE4DEC7B850}"/>
          </ac:spMkLst>
        </pc:spChg>
        <pc:spChg chg="add mod ord">
          <ac:chgData name="Kabadi, Pooja" userId="93805713-a592-4406-af14-3f5a66cfedf0" providerId="ADAL" clId="{3320FFB9-F3A8-4176-AF1C-5FF8BBA63886}" dt="2025-10-31T22:14:25.264" v="169" actId="167"/>
          <ac:spMkLst>
            <pc:docMk/>
            <pc:sldMk cId="2614728908" sldId="2147483019"/>
            <ac:spMk id="12" creationId="{C71826ED-411E-D2B1-396C-42A15F8197DD}"/>
          </ac:spMkLst>
        </pc:spChg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15" creationId="{986C93E8-B2EE-112C-46F7-5729B0813571}"/>
          </ac:spMkLst>
        </pc:spChg>
        <pc:spChg chg="add mod">
          <ac:chgData name="Kabadi, Pooja" userId="93805713-a592-4406-af14-3f5a66cfedf0" providerId="ADAL" clId="{3320FFB9-F3A8-4176-AF1C-5FF8BBA63886}" dt="2025-11-02T00:44:13.296" v="4831" actId="113"/>
          <ac:spMkLst>
            <pc:docMk/>
            <pc:sldMk cId="2614728908" sldId="2147483019"/>
            <ac:spMk id="16" creationId="{0541346B-DD80-62C9-3F79-913AAE572902}"/>
          </ac:spMkLst>
        </pc:spChg>
        <pc:spChg chg="add mod">
          <ac:chgData name="Kabadi, Pooja" userId="93805713-a592-4406-af14-3f5a66cfedf0" providerId="ADAL" clId="{3320FFB9-F3A8-4176-AF1C-5FF8BBA63886}" dt="2025-11-02T00:44:10.279" v="4830" actId="113"/>
          <ac:spMkLst>
            <pc:docMk/>
            <pc:sldMk cId="2614728908" sldId="2147483019"/>
            <ac:spMk id="17" creationId="{EB5DAF44-B489-1653-1B12-5C5E152F0E09}"/>
          </ac:spMkLst>
        </pc:spChg>
        <pc:spChg chg="add mod">
          <ac:chgData name="Kabadi, Pooja" userId="93805713-a592-4406-af14-3f5a66cfedf0" providerId="ADAL" clId="{3320FFB9-F3A8-4176-AF1C-5FF8BBA63886}" dt="2025-11-02T00:44:07.152" v="4829" actId="113"/>
          <ac:spMkLst>
            <pc:docMk/>
            <pc:sldMk cId="2614728908" sldId="2147483019"/>
            <ac:spMk id="18" creationId="{AEC02181-3B60-DDA0-7D14-EF167A46D05A}"/>
          </ac:spMkLst>
        </pc:spChg>
        <pc:spChg chg="add mod">
          <ac:chgData name="Kabadi, Pooja" userId="93805713-a592-4406-af14-3f5a66cfedf0" providerId="ADAL" clId="{3320FFB9-F3A8-4176-AF1C-5FF8BBA63886}" dt="2025-11-02T00:44:00.309" v="4828" actId="113"/>
          <ac:spMkLst>
            <pc:docMk/>
            <pc:sldMk cId="2614728908" sldId="2147483019"/>
            <ac:spMk id="19" creationId="{A72BCFED-D79A-B293-5E8A-C78F02D2E3F2}"/>
          </ac:spMkLst>
        </pc:spChg>
        <pc:spChg chg="add mod or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20" creationId="{9DE54FB5-9C39-C133-AE6D-B0733F485F5E}"/>
          </ac:spMkLst>
        </pc:spChg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22" creationId="{1EF9BE44-CB32-9237-970F-F06B085E63A4}"/>
          </ac:spMkLst>
        </pc:spChg>
        <pc:spChg chg="add mod">
          <ac:chgData name="Kabadi, Pooja" userId="93805713-a592-4406-af14-3f5a66cfedf0" providerId="ADAL" clId="{3320FFB9-F3A8-4176-AF1C-5FF8BBA63886}" dt="2025-11-02T00:44:16.265" v="4832" actId="113"/>
          <ac:spMkLst>
            <pc:docMk/>
            <pc:sldMk cId="2614728908" sldId="2147483019"/>
            <ac:spMk id="23" creationId="{ED77D2CF-230D-E0F2-9716-076886E5337D}"/>
          </ac:spMkLst>
        </pc:spChg>
        <pc:spChg chg="add mod">
          <ac:chgData name="Kabadi, Pooja" userId="93805713-a592-4406-af14-3f5a66cfedf0" providerId="ADAL" clId="{3320FFB9-F3A8-4176-AF1C-5FF8BBA63886}" dt="2025-10-31T22:49:14.281" v="741" actId="1036"/>
          <ac:spMkLst>
            <pc:docMk/>
            <pc:sldMk cId="2614728908" sldId="2147483019"/>
            <ac:spMk id="24" creationId="{21F5CED5-65A5-AF66-248E-A9E38F445745}"/>
          </ac:spMkLst>
        </pc:spChg>
        <pc:picChg chg="add mod modCrop">
          <ac:chgData name="Kabadi, Pooja" userId="93805713-a592-4406-af14-3f5a66cfedf0" providerId="ADAL" clId="{3320FFB9-F3A8-4176-AF1C-5FF8BBA63886}" dt="2025-10-31T22:45:45.112" v="729" actId="1076"/>
          <ac:picMkLst>
            <pc:docMk/>
            <pc:sldMk cId="2614728908" sldId="2147483019"/>
            <ac:picMk id="5" creationId="{95F75811-54DC-E54A-FC0E-AD72140F99AC}"/>
          </ac:picMkLst>
        </pc:picChg>
        <pc:picChg chg="add mod">
          <ac:chgData name="Kabadi, Pooja" userId="93805713-a592-4406-af14-3f5a66cfedf0" providerId="ADAL" clId="{3320FFB9-F3A8-4176-AF1C-5FF8BBA63886}" dt="2025-10-31T22:35:25.583" v="552" actId="1076"/>
          <ac:picMkLst>
            <pc:docMk/>
            <pc:sldMk cId="2614728908" sldId="2147483019"/>
            <ac:picMk id="10" creationId="{9F28F294-FC82-AE2D-56DA-4B2C04C24BC7}"/>
          </ac:picMkLst>
        </pc:picChg>
        <pc:picChg chg="add mod">
          <ac:chgData name="Kabadi, Pooja" userId="93805713-a592-4406-af14-3f5a66cfedf0" providerId="ADAL" clId="{3320FFB9-F3A8-4176-AF1C-5FF8BBA63886}" dt="2025-10-31T22:21:35.105" v="448" actId="1076"/>
          <ac:picMkLst>
            <pc:docMk/>
            <pc:sldMk cId="2614728908" sldId="2147483019"/>
            <ac:picMk id="1026" creationId="{5FA879B9-270A-961D-BD65-A85ECD705F90}"/>
          </ac:picMkLst>
        </pc:picChg>
        <pc:picChg chg="add mod">
          <ac:chgData name="Kabadi, Pooja" userId="93805713-a592-4406-af14-3f5a66cfedf0" providerId="ADAL" clId="{3320FFB9-F3A8-4176-AF1C-5FF8BBA63886}" dt="2025-10-31T22:27:25.253" v="487" actId="1076"/>
          <ac:picMkLst>
            <pc:docMk/>
            <pc:sldMk cId="2614728908" sldId="2147483019"/>
            <ac:picMk id="1028" creationId="{15681D87-E687-DDFA-0CA3-64A245D526B8}"/>
          </ac:picMkLst>
        </pc:picChg>
        <pc:picChg chg="add mod">
          <ac:chgData name="Kabadi, Pooja" userId="93805713-a592-4406-af14-3f5a66cfedf0" providerId="ADAL" clId="{3320FFB9-F3A8-4176-AF1C-5FF8BBA63886}" dt="2025-10-31T22:21:45.983" v="449" actId="1076"/>
          <ac:picMkLst>
            <pc:docMk/>
            <pc:sldMk cId="2614728908" sldId="2147483019"/>
            <ac:picMk id="1032" creationId="{C062459B-8CE6-3AB8-B8EE-9270D329C41A}"/>
          </ac:picMkLst>
        </pc:picChg>
        <pc:picChg chg="add mod">
          <ac:chgData name="Kabadi, Pooja" userId="93805713-a592-4406-af14-3f5a66cfedf0" providerId="ADAL" clId="{3320FFB9-F3A8-4176-AF1C-5FF8BBA63886}" dt="2025-10-31T22:50:17.490" v="744" actId="1076"/>
          <ac:picMkLst>
            <pc:docMk/>
            <pc:sldMk cId="2614728908" sldId="2147483019"/>
            <ac:picMk id="1034" creationId="{B293AD4E-39DB-3044-D02B-508608F8EC3D}"/>
          </ac:picMkLst>
        </pc:picChg>
      </pc:sldChg>
      <pc:sldChg chg="addSp delSp modSp new mod">
        <pc:chgData name="Kabadi, Pooja" userId="93805713-a592-4406-af14-3f5a66cfedf0" providerId="ADAL" clId="{3320FFB9-F3A8-4176-AF1C-5FF8BBA63886}" dt="2025-10-31T23:29:50.521" v="1342" actId="1035"/>
        <pc:sldMkLst>
          <pc:docMk/>
          <pc:sldMk cId="234471741" sldId="2147483020"/>
        </pc:sldMkLst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4" creationId="{0A4FB0DB-38C8-FD92-0FF6-F468CD6EBCFB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5" creationId="{F0047BE5-DFF0-5FC3-AE53-7F9F90389671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6" creationId="{3CC4A69C-FC7F-D6A5-2C11-F8E75C1134C3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8" creationId="{E926CEB7-32B0-10B5-1D4B-D2E5E4B7C509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9" creationId="{511F9A34-6E4F-5745-BD1E-5E2DF8C3DD34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16" creationId="{E68DCE94-0345-6134-DC67-EC0364BCCD43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17" creationId="{8B2E3E8F-0CC0-3087-8DF2-D2940CD6C555}"/>
          </ac:spMkLst>
        </pc:spChg>
        <pc:spChg chg="add del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19" creationId="{12936B8B-4B9B-7753-1B81-7FAEBD5D8779}"/>
          </ac:spMkLst>
        </pc:spChg>
        <pc:spChg chg="add del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21" creationId="{3E6E7D8E-82DA-A162-3E18-21A081D2FCE0}"/>
          </ac:spMkLst>
        </pc:spChg>
        <pc:spChg chg="add mod">
          <ac:chgData name="Kabadi, Pooja" userId="93805713-a592-4406-af14-3f5a66cfedf0" providerId="ADAL" clId="{3320FFB9-F3A8-4176-AF1C-5FF8BBA63886}" dt="2025-10-31T23:29:50.521" v="1342" actId="1035"/>
          <ac:spMkLst>
            <pc:docMk/>
            <pc:sldMk cId="234471741" sldId="2147483020"/>
            <ac:spMk id="27" creationId="{3E790745-A857-E4B4-BBEE-B84441BF2E0A}"/>
          </ac:spMkLst>
        </pc:spChg>
        <pc:picChg chg="add mod">
          <ac:chgData name="Kabadi, Pooja" userId="93805713-a592-4406-af14-3f5a66cfedf0" providerId="ADAL" clId="{3320FFB9-F3A8-4176-AF1C-5FF8BBA63886}" dt="2025-10-31T23:28:29.769" v="1326"/>
          <ac:picMkLst>
            <pc:docMk/>
            <pc:sldMk cId="234471741" sldId="2147483020"/>
            <ac:picMk id="55" creationId="{F4E3EAF6-A02E-688B-A844-C60D5C659004}"/>
          </ac:picMkLst>
        </pc:picChg>
      </pc:sldChg>
      <pc:sldChg chg="addSp delSp modSp new mod ord">
        <pc:chgData name="Kabadi, Pooja" userId="93805713-a592-4406-af14-3f5a66cfedf0" providerId="ADAL" clId="{3320FFB9-F3A8-4176-AF1C-5FF8BBA63886}" dt="2025-11-02T18:12:44.917" v="5506" actId="1037"/>
        <pc:sldMkLst>
          <pc:docMk/>
          <pc:sldMk cId="986244273" sldId="2147483021"/>
        </pc:sldMkLst>
        <pc:spChg chg="del">
          <ac:chgData name="Kabadi, Pooja" userId="93805713-a592-4406-af14-3f5a66cfedf0" providerId="ADAL" clId="{3320FFB9-F3A8-4176-AF1C-5FF8BBA63886}" dt="2025-11-01T00:38:53.517" v="1344" actId="478"/>
          <ac:spMkLst>
            <pc:docMk/>
            <pc:sldMk cId="986244273" sldId="2147483021"/>
            <ac:spMk id="3" creationId="{4B2CA3DF-2906-2BE7-57BE-1A36EE0F0FBB}"/>
          </ac:spMkLst>
        </pc:spChg>
        <pc:spChg chg="del">
          <ac:chgData name="Kabadi, Pooja" userId="93805713-a592-4406-af14-3f5a66cfedf0" providerId="ADAL" clId="{3320FFB9-F3A8-4176-AF1C-5FF8BBA63886}" dt="2025-11-01T01:34:45.301" v="1423" actId="478"/>
          <ac:spMkLst>
            <pc:docMk/>
            <pc:sldMk cId="986244273" sldId="2147483021"/>
            <ac:spMk id="4" creationId="{25034D9C-491E-495F-FB55-1C98B9F4BDF4}"/>
          </ac:spMkLst>
        </pc:spChg>
        <pc:spChg chg="add del mod">
          <ac:chgData name="Kabadi, Pooja" userId="93805713-a592-4406-af14-3f5a66cfedf0" providerId="ADAL" clId="{3320FFB9-F3A8-4176-AF1C-5FF8BBA63886}" dt="2025-11-01T01:18:05.900" v="1371" actId="478"/>
          <ac:spMkLst>
            <pc:docMk/>
            <pc:sldMk cId="986244273" sldId="2147483021"/>
            <ac:spMk id="9" creationId="{D478729F-ADBC-2640-639E-F1FBF1D87C58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2" creationId="{23AA501D-57B0-2E62-DF36-333F5D0C57D1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3" creationId="{E624F48E-BF9B-7ED4-4776-1356586B1E68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4" creationId="{3464FA5D-FF7D-4DB4-92A2-778B1B07D0E1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5" creationId="{9C56C020-2AB2-D37C-5584-897BBA0C67A3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6" creationId="{B5E8D1C4-BF91-A49D-CDCB-72C53371D588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7" creationId="{87C41E7C-E218-D0FA-07AB-1552A57585C7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8" creationId="{BDE4CC46-553C-FB63-0CE2-63CBB0518270}"/>
          </ac:spMkLst>
        </pc:spChg>
        <pc:spChg chg="add mod">
          <ac:chgData name="Kabadi, Pooja" userId="93805713-a592-4406-af14-3f5a66cfedf0" providerId="ADAL" clId="{3320FFB9-F3A8-4176-AF1C-5FF8BBA63886}" dt="2025-11-02T18:12:44.917" v="5506" actId="1037"/>
          <ac:spMkLst>
            <pc:docMk/>
            <pc:sldMk cId="986244273" sldId="2147483021"/>
            <ac:spMk id="19" creationId="{E4B86241-BF5E-9637-4D97-BDA7D3968154}"/>
          </ac:spMkLst>
        </pc:spChg>
        <pc:graphicFrameChg chg="add mod">
          <ac:chgData name="Kabadi, Pooja" userId="93805713-a592-4406-af14-3f5a66cfedf0" providerId="ADAL" clId="{3320FFB9-F3A8-4176-AF1C-5FF8BBA63886}" dt="2025-11-01T01:14:57.527" v="1345"/>
          <ac:graphicFrameMkLst>
            <pc:docMk/>
            <pc:sldMk cId="986244273" sldId="2147483021"/>
            <ac:graphicFrameMk id="5" creationId="{B1932E3D-6EDE-9E85-5001-AA09A03C496F}"/>
          </ac:graphicFrameMkLst>
        </pc:graphicFrameChg>
        <pc:graphicFrameChg chg="add mod">
          <ac:chgData name="Kabadi, Pooja" userId="93805713-a592-4406-af14-3f5a66cfedf0" providerId="ADAL" clId="{3320FFB9-F3A8-4176-AF1C-5FF8BBA63886}" dt="2025-11-01T01:15:04.472" v="1346"/>
          <ac:graphicFrameMkLst>
            <pc:docMk/>
            <pc:sldMk cId="986244273" sldId="2147483021"/>
            <ac:graphicFrameMk id="6" creationId="{7CB55A42-7A4F-456D-88D4-3BFDDA29665E}"/>
          </ac:graphicFrameMkLst>
        </pc:graphicFrameChg>
        <pc:graphicFrameChg chg="add del mod">
          <ac:chgData name="Kabadi, Pooja" userId="93805713-a592-4406-af14-3f5a66cfedf0" providerId="ADAL" clId="{3320FFB9-F3A8-4176-AF1C-5FF8BBA63886}" dt="2025-11-01T01:16:15.399" v="1348" actId="478"/>
          <ac:graphicFrameMkLst>
            <pc:docMk/>
            <pc:sldMk cId="986244273" sldId="2147483021"/>
            <ac:graphicFrameMk id="7" creationId="{7F28CB1B-3ACE-47D3-07C4-DC8B47D85CAD}"/>
          </ac:graphicFrameMkLst>
        </pc:graphicFrameChg>
        <pc:graphicFrameChg chg="add del mod modGraphic">
          <ac:chgData name="Kabadi, Pooja" userId="93805713-a592-4406-af14-3f5a66cfedf0" providerId="ADAL" clId="{3320FFB9-F3A8-4176-AF1C-5FF8BBA63886}" dt="2025-11-01T01:30:40.577" v="1394" actId="478"/>
          <ac:graphicFrameMkLst>
            <pc:docMk/>
            <pc:sldMk cId="986244273" sldId="2147483021"/>
            <ac:graphicFrameMk id="8" creationId="{0D624614-FDB2-A04A-20C7-52BF4C7EA166}"/>
          </ac:graphicFrameMkLst>
        </pc:graphicFrameChg>
        <pc:graphicFrameChg chg="add del mod modGraphic">
          <ac:chgData name="Kabadi, Pooja" userId="93805713-a592-4406-af14-3f5a66cfedf0" providerId="ADAL" clId="{3320FFB9-F3A8-4176-AF1C-5FF8BBA63886}" dt="2025-11-01T01:33:14.032" v="1404" actId="478"/>
          <ac:graphicFrameMkLst>
            <pc:docMk/>
            <pc:sldMk cId="986244273" sldId="2147483021"/>
            <ac:graphicFrameMk id="10" creationId="{9AEE15CD-A6E9-B8C9-155A-3C0C6004A3E2}"/>
          </ac:graphicFrameMkLst>
        </pc:graphicFrameChg>
        <pc:graphicFrameChg chg="add mod modGraphic">
          <ac:chgData name="Kabadi, Pooja" userId="93805713-a592-4406-af14-3f5a66cfedf0" providerId="ADAL" clId="{3320FFB9-F3A8-4176-AF1C-5FF8BBA63886}" dt="2025-11-02T18:12:44.917" v="5506" actId="1037"/>
          <ac:graphicFrameMkLst>
            <pc:docMk/>
            <pc:sldMk cId="986244273" sldId="2147483021"/>
            <ac:graphicFrameMk id="11" creationId="{E64A9645-1E71-2F07-B468-2406F9B66CC7}"/>
          </ac:graphicFrameMkLst>
        </pc:graphicFrameChg>
      </pc:sldChg>
      <pc:sldChg chg="delSp new del mod ord">
        <pc:chgData name="Kabadi, Pooja" userId="93805713-a592-4406-af14-3f5a66cfedf0" providerId="ADAL" clId="{3320FFB9-F3A8-4176-AF1C-5FF8BBA63886}" dt="2025-11-01T05:48:03.956" v="2095" actId="2696"/>
        <pc:sldMkLst>
          <pc:docMk/>
          <pc:sldMk cId="3184235961" sldId="2147483022"/>
        </pc:sldMkLst>
        <pc:spChg chg="del">
          <ac:chgData name="Kabadi, Pooja" userId="93805713-a592-4406-af14-3f5a66cfedf0" providerId="ADAL" clId="{3320FFB9-F3A8-4176-AF1C-5FF8BBA63886}" dt="2025-11-01T04:36:10.461" v="1485" actId="478"/>
          <ac:spMkLst>
            <pc:docMk/>
            <pc:sldMk cId="3184235961" sldId="2147483022"/>
            <ac:spMk id="2" creationId="{22274D3C-7175-1EE0-E606-E97CD17B8794}"/>
          </ac:spMkLst>
        </pc:spChg>
      </pc:sldChg>
      <pc:sldChg chg="addSp delSp modSp new mod ord">
        <pc:chgData name="Kabadi, Pooja" userId="93805713-a592-4406-af14-3f5a66cfedf0" providerId="ADAL" clId="{3320FFB9-F3A8-4176-AF1C-5FF8BBA63886}" dt="2025-11-01T06:02:06.432" v="2174" actId="164"/>
        <pc:sldMkLst>
          <pc:docMk/>
          <pc:sldMk cId="2467357694" sldId="2147483023"/>
        </pc:sldMkLst>
        <pc:spChg chg="mod">
          <ac:chgData name="Kabadi, Pooja" userId="93805713-a592-4406-af14-3f5a66cfedf0" providerId="ADAL" clId="{3320FFB9-F3A8-4176-AF1C-5FF8BBA63886}" dt="2025-11-01T05:45:47.931" v="2090" actId="1076"/>
          <ac:spMkLst>
            <pc:docMk/>
            <pc:sldMk cId="2467357694" sldId="2147483023"/>
            <ac:spMk id="2" creationId="{B4448FBE-68A6-C4F1-6FE5-4BB149A78CC7}"/>
          </ac:spMkLst>
        </pc:spChg>
        <pc:spChg chg="add mod ord">
          <ac:chgData name="Kabadi, Pooja" userId="93805713-a592-4406-af14-3f5a66cfedf0" providerId="ADAL" clId="{3320FFB9-F3A8-4176-AF1C-5FF8BBA63886}" dt="2025-11-01T05:45:47.931" v="2090" actId="1076"/>
          <ac:spMkLst>
            <pc:docMk/>
            <pc:sldMk cId="2467357694" sldId="2147483023"/>
            <ac:spMk id="4" creationId="{F8356C5C-3861-514F-8F6B-67B041AAB4FA}"/>
          </ac:spMkLst>
        </pc:spChg>
        <pc:spChg chg="add">
          <ac:chgData name="Kabadi, Pooja" userId="93805713-a592-4406-af14-3f5a66cfedf0" providerId="ADAL" clId="{3320FFB9-F3A8-4176-AF1C-5FF8BBA63886}" dt="2025-11-01T05:17:35.296" v="1547"/>
          <ac:spMkLst>
            <pc:docMk/>
            <pc:sldMk cId="2467357694" sldId="2147483023"/>
            <ac:spMk id="5" creationId="{D00F5969-A26D-DE24-5DCD-DA54B596115B}"/>
          </ac:spMkLst>
        </pc:spChg>
        <pc:spChg chg="add mod">
          <ac:chgData name="Kabadi, Pooja" userId="93805713-a592-4406-af14-3f5a66cfedf0" providerId="ADAL" clId="{3320FFB9-F3A8-4176-AF1C-5FF8BBA63886}" dt="2025-11-01T05:19:48.147" v="1586" actId="164"/>
          <ac:spMkLst>
            <pc:docMk/>
            <pc:sldMk cId="2467357694" sldId="2147483023"/>
            <ac:spMk id="8" creationId="{62251301-ED49-E1DE-1BE5-DB2BE575C9DF}"/>
          </ac:spMkLst>
        </pc:spChg>
        <pc:spChg chg="add mod">
          <ac:chgData name="Kabadi, Pooja" userId="93805713-a592-4406-af14-3f5a66cfedf0" providerId="ADAL" clId="{3320FFB9-F3A8-4176-AF1C-5FF8BBA63886}" dt="2025-11-01T06:01:15.252" v="2159" actId="1037"/>
          <ac:spMkLst>
            <pc:docMk/>
            <pc:sldMk cId="2467357694" sldId="2147483023"/>
            <ac:spMk id="17" creationId="{E8959964-3CDD-8903-75A7-39E2775A4734}"/>
          </ac:spMkLst>
        </pc:spChg>
        <pc:spChg chg="add mod">
          <ac:chgData name="Kabadi, Pooja" userId="93805713-a592-4406-af14-3f5a66cfedf0" providerId="ADAL" clId="{3320FFB9-F3A8-4176-AF1C-5FF8BBA63886}" dt="2025-11-01T06:01:15.252" v="2159" actId="1037"/>
          <ac:spMkLst>
            <pc:docMk/>
            <pc:sldMk cId="2467357694" sldId="2147483023"/>
            <ac:spMk id="20" creationId="{DC20C2AF-CC1F-9136-9DAC-8C1C63F2971B}"/>
          </ac:spMkLst>
        </pc:spChg>
        <pc:spChg chg="add mod">
          <ac:chgData name="Kabadi, Pooja" userId="93805713-a592-4406-af14-3f5a66cfedf0" providerId="ADAL" clId="{3320FFB9-F3A8-4176-AF1C-5FF8BBA63886}" dt="2025-11-01T06:01:15.252" v="2159" actId="1037"/>
          <ac:spMkLst>
            <pc:docMk/>
            <pc:sldMk cId="2467357694" sldId="2147483023"/>
            <ac:spMk id="23" creationId="{43AE7D6F-3141-8B6D-BFF4-DCA628A42586}"/>
          </ac:spMkLst>
        </pc:spChg>
        <pc:spChg chg="add mod">
          <ac:chgData name="Kabadi, Pooja" userId="93805713-a592-4406-af14-3f5a66cfedf0" providerId="ADAL" clId="{3320FFB9-F3A8-4176-AF1C-5FF8BBA63886}" dt="2025-11-01T06:01:15.252" v="2159" actId="1037"/>
          <ac:spMkLst>
            <pc:docMk/>
            <pc:sldMk cId="2467357694" sldId="2147483023"/>
            <ac:spMk id="26" creationId="{C88875AA-DFFB-8261-877B-39FF48F9BA20}"/>
          </ac:spMkLst>
        </pc:spChg>
        <pc:spChg chg="add mod">
          <ac:chgData name="Kabadi, Pooja" userId="93805713-a592-4406-af14-3f5a66cfedf0" providerId="ADAL" clId="{3320FFB9-F3A8-4176-AF1C-5FF8BBA63886}" dt="2025-11-01T06:00:55.131" v="2146" actId="165"/>
          <ac:spMkLst>
            <pc:docMk/>
            <pc:sldMk cId="2467357694" sldId="2147483023"/>
            <ac:spMk id="29" creationId="{6AA74AB9-7EDC-EB43-C965-4464516F54FE}"/>
          </ac:spMkLst>
        </pc:spChg>
        <pc:spChg chg="add mod">
          <ac:chgData name="Kabadi, Pooja" userId="93805713-a592-4406-af14-3f5a66cfedf0" providerId="ADAL" clId="{3320FFB9-F3A8-4176-AF1C-5FF8BBA63886}" dt="2025-11-01T05:54:23.874" v="2144" actId="14100"/>
          <ac:spMkLst>
            <pc:docMk/>
            <pc:sldMk cId="2467357694" sldId="2147483023"/>
            <ac:spMk id="34" creationId="{2E76CE5D-4325-7BA4-055A-998238F0A1C3}"/>
          </ac:spMkLst>
        </pc:spChg>
        <pc:spChg chg="add del mod">
          <ac:chgData name="Kabadi, Pooja" userId="93805713-a592-4406-af14-3f5a66cfedf0" providerId="ADAL" clId="{3320FFB9-F3A8-4176-AF1C-5FF8BBA63886}" dt="2025-11-01T05:29:12.866" v="1807" actId="478"/>
          <ac:spMkLst>
            <pc:docMk/>
            <pc:sldMk cId="2467357694" sldId="2147483023"/>
            <ac:spMk id="35" creationId="{496EBDB7-E7FB-FAD9-045E-4E0533CD0340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36" creationId="{05A74132-252A-7811-00EB-ACA20E7EA5B2}"/>
          </ac:spMkLst>
        </pc:spChg>
        <pc:spChg chg="add mod">
          <ac:chgData name="Kabadi, Pooja" userId="93805713-a592-4406-af14-3f5a66cfedf0" providerId="ADAL" clId="{3320FFB9-F3A8-4176-AF1C-5FF8BBA63886}" dt="2025-11-01T06:01:46.943" v="2171" actId="14100"/>
          <ac:spMkLst>
            <pc:docMk/>
            <pc:sldMk cId="2467357694" sldId="2147483023"/>
            <ac:spMk id="37" creationId="{2893BF0A-0E0B-7550-E187-C73B9C879926}"/>
          </ac:spMkLst>
        </pc:spChg>
        <pc:spChg chg="add mod topLvl">
          <ac:chgData name="Kabadi, Pooja" userId="93805713-a592-4406-af14-3f5a66cfedf0" providerId="ADAL" clId="{3320FFB9-F3A8-4176-AF1C-5FF8BBA63886}" dt="2025-11-01T06:01:39.799" v="2170" actId="1038"/>
          <ac:spMkLst>
            <pc:docMk/>
            <pc:sldMk cId="2467357694" sldId="2147483023"/>
            <ac:spMk id="38" creationId="{190E0301-0E22-F0B1-02B6-BCDB2B997B21}"/>
          </ac:spMkLst>
        </pc:spChg>
        <pc:spChg chg="add mod topLvl">
          <ac:chgData name="Kabadi, Pooja" userId="93805713-a592-4406-af14-3f5a66cfedf0" providerId="ADAL" clId="{3320FFB9-F3A8-4176-AF1C-5FF8BBA63886}" dt="2025-11-01T06:01:39.799" v="2170" actId="1038"/>
          <ac:spMkLst>
            <pc:docMk/>
            <pc:sldMk cId="2467357694" sldId="2147483023"/>
            <ac:spMk id="39" creationId="{C7AF1C2B-6DEA-CD9D-398A-4C437465F716}"/>
          </ac:spMkLst>
        </pc:spChg>
        <pc:spChg chg="add mod topLvl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0" creationId="{326438F9-A58F-F540-30A3-1D35058C0483}"/>
          </ac:spMkLst>
        </pc:spChg>
        <pc:spChg chg="add mod topLvl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1" creationId="{3CEF7EE9-FC52-9E9B-F5C3-DA3FEA72CBC9}"/>
          </ac:spMkLst>
        </pc:spChg>
        <pc:spChg chg="add mod topLvl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2" creationId="{5DCB7B08-A514-2243-44FD-39259A697C1B}"/>
          </ac:spMkLst>
        </pc:spChg>
        <pc:spChg chg="add mod topLvl">
          <ac:chgData name="Kabadi, Pooja" userId="93805713-a592-4406-af14-3f5a66cfedf0" providerId="ADAL" clId="{3320FFB9-F3A8-4176-AF1C-5FF8BBA63886}" dt="2025-11-01T06:00:55.131" v="2146" actId="165"/>
          <ac:spMkLst>
            <pc:docMk/>
            <pc:sldMk cId="2467357694" sldId="2147483023"/>
            <ac:spMk id="43" creationId="{2BD1754F-B440-9DE2-8611-BF774C6100B7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4" creationId="{0F035A82-CCA5-580C-B5C8-D5905397ABC3}"/>
          </ac:spMkLst>
        </pc:spChg>
        <pc:spChg chg="add mod topLvl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5" creationId="{22935893-2C1D-4C71-4EEC-F4C01E030325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6" creationId="{6F5A0F13-A510-2FF2-909A-DE075B7029A9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7" creationId="{55F85842-5710-0C55-2104-2965E1D2D108}"/>
          </ac:spMkLst>
        </pc:spChg>
        <pc:spChg chg="add del mod">
          <ac:chgData name="Kabadi, Pooja" userId="93805713-a592-4406-af14-3f5a66cfedf0" providerId="ADAL" clId="{3320FFB9-F3A8-4176-AF1C-5FF8BBA63886}" dt="2025-11-01T05:37:04.976" v="1989" actId="478"/>
          <ac:spMkLst>
            <pc:docMk/>
            <pc:sldMk cId="2467357694" sldId="2147483023"/>
            <ac:spMk id="48" creationId="{9AC73B7D-3623-E9C3-F5A8-4ABF674EBEEB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49" creationId="{00CCD8F5-6C63-6FEE-8A05-4A1F888806FF}"/>
          </ac:spMkLst>
        </pc:spChg>
        <pc:spChg chg="add mod">
          <ac:chgData name="Kabadi, Pooja" userId="93805713-a592-4406-af14-3f5a66cfedf0" providerId="ADAL" clId="{3320FFB9-F3A8-4176-AF1C-5FF8BBA63886}" dt="2025-11-01T05:44:37.085" v="2074" actId="207"/>
          <ac:spMkLst>
            <pc:docMk/>
            <pc:sldMk cId="2467357694" sldId="2147483023"/>
            <ac:spMk id="50" creationId="{C8B0C1D6-7F3D-9491-4373-839E62D7811C}"/>
          </ac:spMkLst>
        </pc:spChg>
        <pc:spChg chg="add mod topLvl">
          <ac:chgData name="Kabadi, Pooja" userId="93805713-a592-4406-af14-3f5a66cfedf0" providerId="ADAL" clId="{3320FFB9-F3A8-4176-AF1C-5FF8BBA63886}" dt="2025-11-01T06:00:55.131" v="2146" actId="165"/>
          <ac:spMkLst>
            <pc:docMk/>
            <pc:sldMk cId="2467357694" sldId="2147483023"/>
            <ac:spMk id="51" creationId="{F6632893-34EA-16D7-8B92-B71B267CB0DF}"/>
          </ac:spMkLst>
        </pc:spChg>
        <pc:spChg chg="add mod">
          <ac:chgData name="Kabadi, Pooja" userId="93805713-a592-4406-af14-3f5a66cfedf0" providerId="ADAL" clId="{3320FFB9-F3A8-4176-AF1C-5FF8BBA63886}" dt="2025-11-01T05:44:44.631" v="2078" actId="207"/>
          <ac:spMkLst>
            <pc:docMk/>
            <pc:sldMk cId="2467357694" sldId="2147483023"/>
            <ac:spMk id="52" creationId="{747A2C3B-D872-ABE7-002D-AC951ACFCD50}"/>
          </ac:spMkLst>
        </pc:spChg>
        <pc:spChg chg="add mod">
          <ac:chgData name="Kabadi, Pooja" userId="93805713-a592-4406-af14-3f5a66cfedf0" providerId="ADAL" clId="{3320FFB9-F3A8-4176-AF1C-5FF8BBA63886}" dt="2025-11-01T06:02:06.432" v="2174" actId="164"/>
          <ac:spMkLst>
            <pc:docMk/>
            <pc:sldMk cId="2467357694" sldId="2147483023"/>
            <ac:spMk id="53" creationId="{3A2BC9BD-5341-A760-F9B2-81C1ADB94F48}"/>
          </ac:spMkLst>
        </pc:spChg>
        <pc:spChg chg="add mod">
          <ac:chgData name="Kabadi, Pooja" userId="93805713-a592-4406-af14-3f5a66cfedf0" providerId="ADAL" clId="{3320FFB9-F3A8-4176-AF1C-5FF8BBA63886}" dt="2025-11-01T05:45:05.739" v="2087" actId="207"/>
          <ac:spMkLst>
            <pc:docMk/>
            <pc:sldMk cId="2467357694" sldId="2147483023"/>
            <ac:spMk id="54" creationId="{EA46B265-05C0-5525-52EE-B86A46ADF07A}"/>
          </ac:spMkLst>
        </pc:spChg>
        <pc:grpChg chg="add mod">
          <ac:chgData name="Kabadi, Pooja" userId="93805713-a592-4406-af14-3f5a66cfedf0" providerId="ADAL" clId="{3320FFB9-F3A8-4176-AF1C-5FF8BBA63886}" dt="2025-11-01T05:19:48.147" v="1586" actId="164"/>
          <ac:grpSpMkLst>
            <pc:docMk/>
            <pc:sldMk cId="2467357694" sldId="2147483023"/>
            <ac:grpSpMk id="14" creationId="{2BEDC288-7390-2C8C-BA55-9BFE8BB00C1C}"/>
          </ac:grpSpMkLst>
        </pc:grpChg>
        <pc:grpChg chg="add del mod">
          <ac:chgData name="Kabadi, Pooja" userId="93805713-a592-4406-af14-3f5a66cfedf0" providerId="ADAL" clId="{3320FFB9-F3A8-4176-AF1C-5FF8BBA63886}" dt="2025-11-01T05:19:54.071" v="1588" actId="478"/>
          <ac:grpSpMkLst>
            <pc:docMk/>
            <pc:sldMk cId="2467357694" sldId="2147483023"/>
            <ac:grpSpMk id="15" creationId="{4ACD8B99-AE98-2977-5C86-61290C974AC1}"/>
          </ac:grpSpMkLst>
        </pc:grpChg>
        <pc:picChg chg="add mod modCrop">
          <ac:chgData name="Kabadi, Pooja" userId="93805713-a592-4406-af14-3f5a66cfedf0" providerId="ADAL" clId="{3320FFB9-F3A8-4176-AF1C-5FF8BBA63886}" dt="2025-11-01T05:19:48.147" v="1586" actId="164"/>
          <ac:picMkLst>
            <pc:docMk/>
            <pc:sldMk cId="2467357694" sldId="2147483023"/>
            <ac:picMk id="7" creationId="{AFE9B7B4-1C1E-6ECC-24C1-6225B066F6D2}"/>
          </ac:picMkLst>
        </pc:picChg>
        <pc:picChg chg="add mod">
          <ac:chgData name="Kabadi, Pooja" userId="93805713-a592-4406-af14-3f5a66cfedf0" providerId="ADAL" clId="{3320FFB9-F3A8-4176-AF1C-5FF8BBA63886}" dt="2025-11-01T05:31:36.001" v="1824" actId="1076"/>
          <ac:picMkLst>
            <pc:docMk/>
            <pc:sldMk cId="2467357694" sldId="2147483023"/>
            <ac:picMk id="16" creationId="{7B90339F-76CC-3F27-4B5C-E359EC9194E1}"/>
          </ac:picMkLst>
        </pc:picChg>
        <pc:picChg chg="add mod modCrop">
          <ac:chgData name="Kabadi, Pooja" userId="93805713-a592-4406-af14-3f5a66cfedf0" providerId="ADAL" clId="{3320FFB9-F3A8-4176-AF1C-5FF8BBA63886}" dt="2025-11-01T05:27:41.184" v="1768" actId="1038"/>
          <ac:picMkLst>
            <pc:docMk/>
            <pc:sldMk cId="2467357694" sldId="2147483023"/>
            <ac:picMk id="19" creationId="{40719515-7D34-9D0B-FD6C-916C8EB23682}"/>
          </ac:picMkLst>
        </pc:picChg>
        <pc:picChg chg="add mod modCrop">
          <ac:chgData name="Kabadi, Pooja" userId="93805713-a592-4406-af14-3f5a66cfedf0" providerId="ADAL" clId="{3320FFB9-F3A8-4176-AF1C-5FF8BBA63886}" dt="2025-11-01T05:31:36.001" v="1824" actId="1076"/>
          <ac:picMkLst>
            <pc:docMk/>
            <pc:sldMk cId="2467357694" sldId="2147483023"/>
            <ac:picMk id="22" creationId="{19EAAC01-CD04-6B9B-17F3-E85D5BBB3063}"/>
          </ac:picMkLst>
        </pc:picChg>
        <pc:picChg chg="add del mod modCrop">
          <ac:chgData name="Kabadi, Pooja" userId="93805713-a592-4406-af14-3f5a66cfedf0" providerId="ADAL" clId="{3320FFB9-F3A8-4176-AF1C-5FF8BBA63886}" dt="2025-11-01T05:23:25.722" v="1696" actId="478"/>
          <ac:picMkLst>
            <pc:docMk/>
            <pc:sldMk cId="2467357694" sldId="2147483023"/>
            <ac:picMk id="25" creationId="{088B2C7C-E68E-ED03-3A6C-268F46B5807E}"/>
          </ac:picMkLst>
        </pc:picChg>
        <pc:picChg chg="add mod modCrop">
          <ac:chgData name="Kabadi, Pooja" userId="93805713-a592-4406-af14-3f5a66cfedf0" providerId="ADAL" clId="{3320FFB9-F3A8-4176-AF1C-5FF8BBA63886}" dt="2025-11-01T05:31:36.001" v="1824" actId="1076"/>
          <ac:picMkLst>
            <pc:docMk/>
            <pc:sldMk cId="2467357694" sldId="2147483023"/>
            <ac:picMk id="28" creationId="{F0425C9D-22F1-DCE4-EA3D-D002C1F780FA}"/>
          </ac:picMkLst>
        </pc:picChg>
        <pc:picChg chg="add mod modCrop">
          <ac:chgData name="Kabadi, Pooja" userId="93805713-a592-4406-af14-3f5a66cfedf0" providerId="ADAL" clId="{3320FFB9-F3A8-4176-AF1C-5FF8BBA63886}" dt="2025-11-01T05:31:36.001" v="1824" actId="1076"/>
          <ac:picMkLst>
            <pc:docMk/>
            <pc:sldMk cId="2467357694" sldId="2147483023"/>
            <ac:picMk id="31" creationId="{611DEAF0-E467-28BC-3C65-6FBD7E372083}"/>
          </ac:picMkLst>
        </pc:picChg>
        <pc:picChg chg="add mod">
          <ac:chgData name="Kabadi, Pooja" userId="93805713-a592-4406-af14-3f5a66cfedf0" providerId="ADAL" clId="{3320FFB9-F3A8-4176-AF1C-5FF8BBA63886}" dt="2025-11-01T05:31:36.001" v="1824" actId="1076"/>
          <ac:picMkLst>
            <pc:docMk/>
            <pc:sldMk cId="2467357694" sldId="2147483023"/>
            <ac:picMk id="4100" creationId="{7D144B75-6042-6DB0-B146-7CEF9DA34592}"/>
          </ac:picMkLst>
        </pc:picChg>
        <pc:cxnChg chg="add mod">
          <ac:chgData name="Kabadi, Pooja" userId="93805713-a592-4406-af14-3f5a66cfedf0" providerId="ADAL" clId="{3320FFB9-F3A8-4176-AF1C-5FF8BBA63886}" dt="2025-11-01T05:19:37.901" v="1584" actId="164"/>
          <ac:cxnSpMkLst>
            <pc:docMk/>
            <pc:sldMk cId="2467357694" sldId="2147483023"/>
            <ac:cxnSpMk id="10" creationId="{F8AE9752-F3F9-1E0F-803E-7DAD048C710F}"/>
          </ac:cxnSpMkLst>
        </pc:cxnChg>
        <pc:cxnChg chg="add mod">
          <ac:chgData name="Kabadi, Pooja" userId="93805713-a592-4406-af14-3f5a66cfedf0" providerId="ADAL" clId="{3320FFB9-F3A8-4176-AF1C-5FF8BBA63886}" dt="2025-11-01T05:19:37.901" v="1584" actId="164"/>
          <ac:cxnSpMkLst>
            <pc:docMk/>
            <pc:sldMk cId="2467357694" sldId="2147483023"/>
            <ac:cxnSpMk id="11" creationId="{95AB5B37-34C3-0C42-C9D6-24523ABD5A86}"/>
          </ac:cxnSpMkLst>
        </pc:cxnChg>
        <pc:cxnChg chg="add mod">
          <ac:chgData name="Kabadi, Pooja" userId="93805713-a592-4406-af14-3f5a66cfedf0" providerId="ADAL" clId="{3320FFB9-F3A8-4176-AF1C-5FF8BBA63886}" dt="2025-11-01T05:19:37.901" v="1584" actId="164"/>
          <ac:cxnSpMkLst>
            <pc:docMk/>
            <pc:sldMk cId="2467357694" sldId="2147483023"/>
            <ac:cxnSpMk id="12" creationId="{D53135E4-6F20-3694-AB40-0D6A0956129B}"/>
          </ac:cxnSpMkLst>
        </pc:cxnChg>
        <pc:cxnChg chg="add mod">
          <ac:chgData name="Kabadi, Pooja" userId="93805713-a592-4406-af14-3f5a66cfedf0" providerId="ADAL" clId="{3320FFB9-F3A8-4176-AF1C-5FF8BBA63886}" dt="2025-11-01T05:19:37.901" v="1584" actId="164"/>
          <ac:cxnSpMkLst>
            <pc:docMk/>
            <pc:sldMk cId="2467357694" sldId="2147483023"/>
            <ac:cxnSpMk id="13" creationId="{CA8DF30D-857B-BA99-8144-D33FF317A170}"/>
          </ac:cxnSpMkLst>
        </pc:cxnChg>
      </pc:sldChg>
      <pc:sldChg chg="addSp delSp modSp new mod">
        <pc:chgData name="Kabadi, Pooja" userId="93805713-a592-4406-af14-3f5a66cfedf0" providerId="ADAL" clId="{3320FFB9-F3A8-4176-AF1C-5FF8BBA63886}" dt="2025-11-01T20:16:00.114" v="3293"/>
        <pc:sldMkLst>
          <pc:docMk/>
          <pc:sldMk cId="50904092" sldId="2147483024"/>
        </pc:sldMkLst>
        <pc:spChg chg="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" creationId="{845A15C1-E745-2AE7-FD8B-F8200EFF12C7}"/>
          </ac:spMkLst>
        </pc:spChg>
        <pc:spChg chg="add mod or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6" creationId="{C0E6D900-0663-8B46-285F-F416D30107D3}"/>
          </ac:spMkLst>
        </pc:spChg>
        <pc:spChg chg="add del mod">
          <ac:chgData name="Kabadi, Pooja" userId="93805713-a592-4406-af14-3f5a66cfedf0" providerId="ADAL" clId="{3320FFB9-F3A8-4176-AF1C-5FF8BBA63886}" dt="2025-11-01T19:26:33.987" v="2222" actId="478"/>
          <ac:spMkLst>
            <pc:docMk/>
            <pc:sldMk cId="50904092" sldId="2147483024"/>
            <ac:spMk id="7" creationId="{B0A06A1C-05A6-3306-C3D2-BF7575909AFE}"/>
          </ac:spMkLst>
        </pc:spChg>
        <pc:spChg chg="add del mod">
          <ac:chgData name="Kabadi, Pooja" userId="93805713-a592-4406-af14-3f5a66cfedf0" providerId="ADAL" clId="{3320FFB9-F3A8-4176-AF1C-5FF8BBA63886}" dt="2025-11-01T19:26:34.851" v="2224" actId="478"/>
          <ac:spMkLst>
            <pc:docMk/>
            <pc:sldMk cId="50904092" sldId="2147483024"/>
            <ac:spMk id="8" creationId="{F7E0B9B6-1687-8A65-A432-0021898FB2C3}"/>
          </ac:spMkLst>
        </pc:spChg>
        <pc:spChg chg="add del mod ord">
          <ac:chgData name="Kabadi, Pooja" userId="93805713-a592-4406-af14-3f5a66cfedf0" providerId="ADAL" clId="{3320FFB9-F3A8-4176-AF1C-5FF8BBA63886}" dt="2025-11-01T19:28:34.689" v="2248" actId="478"/>
          <ac:spMkLst>
            <pc:docMk/>
            <pc:sldMk cId="50904092" sldId="2147483024"/>
            <ac:spMk id="9" creationId="{659B44EA-EDFA-6259-4A66-343395276D21}"/>
          </ac:spMkLst>
        </pc:spChg>
        <pc:spChg chg="add del mod ord">
          <ac:chgData name="Kabadi, Pooja" userId="93805713-a592-4406-af14-3f5a66cfedf0" providerId="ADAL" clId="{3320FFB9-F3A8-4176-AF1C-5FF8BBA63886}" dt="2025-11-01T19:28:42.404" v="2251" actId="478"/>
          <ac:spMkLst>
            <pc:docMk/>
            <pc:sldMk cId="50904092" sldId="2147483024"/>
            <ac:spMk id="10" creationId="{C5BB1CDC-F3AE-35C3-1CCC-C786B9BE4856}"/>
          </ac:spMkLst>
        </pc:spChg>
        <pc:spChg chg="add del mod ord">
          <ac:chgData name="Kabadi, Pooja" userId="93805713-a592-4406-af14-3f5a66cfedf0" providerId="ADAL" clId="{3320FFB9-F3A8-4176-AF1C-5FF8BBA63886}" dt="2025-11-01T19:28:52.788" v="2254" actId="478"/>
          <ac:spMkLst>
            <pc:docMk/>
            <pc:sldMk cId="50904092" sldId="2147483024"/>
            <ac:spMk id="11" creationId="{488928E4-62A4-B4BF-9852-91243CF75C4D}"/>
          </ac:spMkLst>
        </pc:spChg>
        <pc:spChg chg="add del mod ord">
          <ac:chgData name="Kabadi, Pooja" userId="93805713-a592-4406-af14-3f5a66cfedf0" providerId="ADAL" clId="{3320FFB9-F3A8-4176-AF1C-5FF8BBA63886}" dt="2025-11-01T19:29:05.984" v="2258" actId="478"/>
          <ac:spMkLst>
            <pc:docMk/>
            <pc:sldMk cId="50904092" sldId="2147483024"/>
            <ac:spMk id="12" creationId="{3275C19E-20F5-B171-E7E5-4B6F37B6D276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13" creationId="{9493C5B5-91D8-B9D0-271B-1D7D6410C560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14" creationId="{8FEA5DAB-5B1E-BFFB-0E3B-5142207EE654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15" creationId="{E57B1E48-6072-7FC2-88F2-A47702B88B22}"/>
          </ac:spMkLst>
        </pc:spChg>
        <pc:spChg chg="add mod">
          <ac:chgData name="Kabadi, Pooja" userId="93805713-a592-4406-af14-3f5a66cfedf0" providerId="ADAL" clId="{3320FFB9-F3A8-4176-AF1C-5FF8BBA63886}" dt="2025-11-01T19:29:48.335" v="2263" actId="1076"/>
          <ac:spMkLst>
            <pc:docMk/>
            <pc:sldMk cId="50904092" sldId="2147483024"/>
            <ac:spMk id="16" creationId="{0365042A-DDC0-1165-977D-984BD338420D}"/>
          </ac:spMkLst>
        </pc:spChg>
        <pc:spChg chg="add del">
          <ac:chgData name="Kabadi, Pooja" userId="93805713-a592-4406-af14-3f5a66cfedf0" providerId="ADAL" clId="{3320FFB9-F3A8-4176-AF1C-5FF8BBA63886}" dt="2025-11-01T19:30:37.958" v="2274" actId="478"/>
          <ac:spMkLst>
            <pc:docMk/>
            <pc:sldMk cId="50904092" sldId="2147483024"/>
            <ac:spMk id="17" creationId="{D2F70413-BDC2-08F0-5AC7-57797958DA6F}"/>
          </ac:spMkLst>
        </pc:spChg>
        <pc:spChg chg="add mod ord">
          <ac:chgData name="Kabadi, Pooja" userId="93805713-a592-4406-af14-3f5a66cfedf0" providerId="ADAL" clId="{3320FFB9-F3A8-4176-AF1C-5FF8BBA63886}" dt="2025-11-01T19:31:28.548" v="2283" actId="207"/>
          <ac:spMkLst>
            <pc:docMk/>
            <pc:sldMk cId="50904092" sldId="2147483024"/>
            <ac:spMk id="18" creationId="{A495588C-A9FA-7042-4084-6AC4949FE25C}"/>
          </ac:spMkLst>
        </pc:spChg>
        <pc:spChg chg="add mod">
          <ac:chgData name="Kabadi, Pooja" userId="93805713-a592-4406-af14-3f5a66cfedf0" providerId="ADAL" clId="{3320FFB9-F3A8-4176-AF1C-5FF8BBA63886}" dt="2025-11-01T19:42:36.979" v="3270" actId="1035"/>
          <ac:spMkLst>
            <pc:docMk/>
            <pc:sldMk cId="50904092" sldId="2147483024"/>
            <ac:spMk id="19" creationId="{9E58E0ED-9C2E-D7DB-9091-2F366B51120C}"/>
          </ac:spMkLst>
        </pc:spChg>
        <pc:spChg chg="add mod">
          <ac:chgData name="Kabadi, Pooja" userId="93805713-a592-4406-af14-3f5a66cfedf0" providerId="ADAL" clId="{3320FFB9-F3A8-4176-AF1C-5FF8BBA63886}" dt="2025-11-01T19:42:36.979" v="3270" actId="1035"/>
          <ac:spMkLst>
            <pc:docMk/>
            <pc:sldMk cId="50904092" sldId="2147483024"/>
            <ac:spMk id="20" creationId="{A915C576-F148-6145-5A0D-EF75803F766E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1" creationId="{9909B310-3D4C-CA75-5C8D-643CDDE03DCD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2" creationId="{DE0DD93B-3F81-AE31-F8E0-126F65D2FD63}"/>
          </ac:spMkLst>
        </pc:spChg>
        <pc:spChg chg="add mod">
          <ac:chgData name="Kabadi, Pooja" userId="93805713-a592-4406-af14-3f5a66cfedf0" providerId="ADAL" clId="{3320FFB9-F3A8-4176-AF1C-5FF8BBA63886}" dt="2025-11-01T19:42:36.979" v="3270" actId="1035"/>
          <ac:spMkLst>
            <pc:docMk/>
            <pc:sldMk cId="50904092" sldId="2147483024"/>
            <ac:spMk id="23" creationId="{631C09D0-CDCA-289F-ABB9-D494C4013779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4" creationId="{20830671-8C84-1B4E-7020-5FB733BF826F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5" creationId="{5673AAF1-83AB-07EE-7DB6-4A55F9FDE1ED}"/>
          </ac:spMkLst>
        </pc:spChg>
        <pc:spChg chg="add mod">
          <ac:chgData name="Kabadi, Pooja" userId="93805713-a592-4406-af14-3f5a66cfedf0" providerId="ADAL" clId="{3320FFB9-F3A8-4176-AF1C-5FF8BBA63886}" dt="2025-11-01T19:42:27.844" v="3261" actId="1036"/>
          <ac:spMkLst>
            <pc:docMk/>
            <pc:sldMk cId="50904092" sldId="2147483024"/>
            <ac:spMk id="26" creationId="{00C252C1-90C7-F0A8-A24C-8847E5C578CD}"/>
          </ac:spMkLst>
        </pc:spChg>
        <pc:spChg chg="add mod">
          <ac:chgData name="Kabadi, Pooja" userId="93805713-a592-4406-af14-3f5a66cfedf0" providerId="ADAL" clId="{3320FFB9-F3A8-4176-AF1C-5FF8BBA63886}" dt="2025-11-01T19:43:09.086" v="3290" actId="1036"/>
          <ac:spMkLst>
            <pc:docMk/>
            <pc:sldMk cId="50904092" sldId="2147483024"/>
            <ac:spMk id="27" creationId="{B537F1EC-7835-561C-BB84-BC21FD5A3A1F}"/>
          </ac:spMkLst>
        </pc:spChg>
        <pc:spChg chg="add mod">
          <ac:chgData name="Kabadi, Pooja" userId="93805713-a592-4406-af14-3f5a66cfedf0" providerId="ADAL" clId="{3320FFB9-F3A8-4176-AF1C-5FF8BBA63886}" dt="2025-11-01T19:42:27.844" v="3261" actId="1036"/>
          <ac:spMkLst>
            <pc:docMk/>
            <pc:sldMk cId="50904092" sldId="2147483024"/>
            <ac:spMk id="28" creationId="{0155EAD2-0002-CAD9-FA8E-27E2091DA524}"/>
          </ac:spMkLst>
        </pc:spChg>
        <pc:picChg chg="add del mod modCrop">
          <ac:chgData name="Kabadi, Pooja" userId="93805713-a592-4406-af14-3f5a66cfedf0" providerId="ADAL" clId="{3320FFB9-F3A8-4176-AF1C-5FF8BBA63886}" dt="2025-11-01T05:53:48.410" v="2142" actId="478"/>
          <ac:picMkLst>
            <pc:docMk/>
            <pc:sldMk cId="50904092" sldId="2147483024"/>
            <ac:picMk id="5" creationId="{6A37D072-6A9B-8640-A71F-6E2D113C742A}"/>
          </ac:picMkLst>
        </pc:picChg>
        <pc:picChg chg="add mod">
          <ac:chgData name="Kabadi, Pooja" userId="93805713-a592-4406-af14-3f5a66cfedf0" providerId="ADAL" clId="{3320FFB9-F3A8-4176-AF1C-5FF8BBA63886}" dt="2025-11-01T19:31:45.761" v="2285" actId="1076"/>
          <ac:picMkLst>
            <pc:docMk/>
            <pc:sldMk cId="50904092" sldId="2147483024"/>
            <ac:picMk id="5122" creationId="{E25D3CC5-978A-6347-75ED-B9D8BDFF770A}"/>
          </ac:picMkLst>
        </pc:picChg>
        <pc:picChg chg="add mod">
          <ac:chgData name="Kabadi, Pooja" userId="93805713-a592-4406-af14-3f5a66cfedf0" providerId="ADAL" clId="{3320FFB9-F3A8-4176-AF1C-5FF8BBA63886}" dt="2025-11-01T20:15:38.509" v="3292"/>
          <ac:picMkLst>
            <pc:docMk/>
            <pc:sldMk cId="50904092" sldId="2147483024"/>
            <ac:picMk id="5124" creationId="{27957FC9-0879-BB3E-52C0-01E2FCFED51D}"/>
          </ac:picMkLst>
        </pc:picChg>
        <pc:picChg chg="add mod">
          <ac:chgData name="Kabadi, Pooja" userId="93805713-a592-4406-af14-3f5a66cfedf0" providerId="ADAL" clId="{3320FFB9-F3A8-4176-AF1C-5FF8BBA63886}" dt="2025-11-01T19:31:45.761" v="2285" actId="1076"/>
          <ac:picMkLst>
            <pc:docMk/>
            <pc:sldMk cId="50904092" sldId="2147483024"/>
            <ac:picMk id="5126" creationId="{E183B7D8-88FA-AAB3-FF09-55F145218AAC}"/>
          </ac:picMkLst>
        </pc:picChg>
        <pc:picChg chg="add mod">
          <ac:chgData name="Kabadi, Pooja" userId="93805713-a592-4406-af14-3f5a66cfedf0" providerId="ADAL" clId="{3320FFB9-F3A8-4176-AF1C-5FF8BBA63886}" dt="2025-11-01T19:31:45.761" v="2285" actId="1076"/>
          <ac:picMkLst>
            <pc:docMk/>
            <pc:sldMk cId="50904092" sldId="2147483024"/>
            <ac:picMk id="5128" creationId="{A6F51DA2-657E-2E1E-0E51-FF129A4841A8}"/>
          </ac:picMkLst>
        </pc:picChg>
        <pc:picChg chg="add mod">
          <ac:chgData name="Kabadi, Pooja" userId="93805713-a592-4406-af14-3f5a66cfedf0" providerId="ADAL" clId="{3320FFB9-F3A8-4176-AF1C-5FF8BBA63886}" dt="2025-11-01T20:16:00.114" v="3293"/>
          <ac:picMkLst>
            <pc:docMk/>
            <pc:sldMk cId="50904092" sldId="2147483024"/>
            <ac:picMk id="5130" creationId="{16DE15B7-D2D5-7F03-1335-3F0F0774E18B}"/>
          </ac:picMkLst>
        </pc:picChg>
      </pc:sldChg>
      <pc:sldChg chg="new del">
        <pc:chgData name="Kabadi, Pooja" userId="93805713-a592-4406-af14-3f5a66cfedf0" providerId="ADAL" clId="{3320FFB9-F3A8-4176-AF1C-5FF8BBA63886}" dt="2025-11-01T05:48:06.394" v="2096" actId="2696"/>
        <pc:sldMkLst>
          <pc:docMk/>
          <pc:sldMk cId="1206400465" sldId="2147483024"/>
        </pc:sldMkLst>
      </pc:sldChg>
      <pc:sldChg chg="addSp delSp modSp new del mod">
        <pc:chgData name="Kabadi, Pooja" userId="93805713-a592-4406-af14-3f5a66cfedf0" providerId="ADAL" clId="{3320FFB9-F3A8-4176-AF1C-5FF8BBA63886}" dt="2025-11-02T00:34:14.186" v="4823" actId="2696"/>
        <pc:sldMkLst>
          <pc:docMk/>
          <pc:sldMk cId="3546120906" sldId="2147483025"/>
        </pc:sldMkLst>
        <pc:spChg chg="del">
          <ac:chgData name="Kabadi, Pooja" userId="93805713-a592-4406-af14-3f5a66cfedf0" providerId="ADAL" clId="{3320FFB9-F3A8-4176-AF1C-5FF8BBA63886}" dt="2025-11-01T20:51:59.916" v="3338" actId="478"/>
          <ac:spMkLst>
            <pc:docMk/>
            <pc:sldMk cId="3546120906" sldId="2147483025"/>
            <ac:spMk id="3" creationId="{AEB68CD2-C08E-925F-395C-00F3306F90BF}"/>
          </ac:spMkLst>
        </pc:spChg>
        <pc:spChg chg="del">
          <ac:chgData name="Kabadi, Pooja" userId="93805713-a592-4406-af14-3f5a66cfedf0" providerId="ADAL" clId="{3320FFB9-F3A8-4176-AF1C-5FF8BBA63886}" dt="2025-11-01T20:52:01.248" v="3339" actId="478"/>
          <ac:spMkLst>
            <pc:docMk/>
            <pc:sldMk cId="3546120906" sldId="2147483025"/>
            <ac:spMk id="4" creationId="{44F39F90-C9D4-F2C2-6DB7-CB2897307CA5}"/>
          </ac:spMkLst>
        </pc:spChg>
        <pc:spChg chg="add">
          <ac:chgData name="Kabadi, Pooja" userId="93805713-a592-4406-af14-3f5a66cfedf0" providerId="ADAL" clId="{3320FFB9-F3A8-4176-AF1C-5FF8BBA63886}" dt="2025-11-01T20:51:13.870" v="3329"/>
          <ac:spMkLst>
            <pc:docMk/>
            <pc:sldMk cId="3546120906" sldId="2147483025"/>
            <ac:spMk id="5" creationId="{F12BA54B-92B7-CD9D-2380-6F037A57043A}"/>
          </ac:spMkLst>
        </pc:spChg>
        <pc:picChg chg="add mod">
          <ac:chgData name="Kabadi, Pooja" userId="93805713-a592-4406-af14-3f5a66cfedf0" providerId="ADAL" clId="{3320FFB9-F3A8-4176-AF1C-5FF8BBA63886}" dt="2025-11-01T20:52:07.967" v="3340" actId="1076"/>
          <ac:picMkLst>
            <pc:docMk/>
            <pc:sldMk cId="3546120906" sldId="2147483025"/>
            <ac:picMk id="7" creationId="{E45500F5-7DEF-260D-C622-61550E43948B}"/>
          </ac:picMkLst>
        </pc:picChg>
      </pc:sldChg>
      <pc:sldChg chg="addSp delSp modSp new mod ord">
        <pc:chgData name="Kabadi, Pooja" userId="93805713-a592-4406-af14-3f5a66cfedf0" providerId="ADAL" clId="{3320FFB9-F3A8-4176-AF1C-5FF8BBA63886}" dt="2025-11-02T02:59:26.168" v="4932" actId="403"/>
        <pc:sldMkLst>
          <pc:docMk/>
          <pc:sldMk cId="1555668093" sldId="2147483026"/>
        </pc:sldMkLst>
        <pc:spChg chg="del">
          <ac:chgData name="Kabadi, Pooja" userId="93805713-a592-4406-af14-3f5a66cfedf0" providerId="ADAL" clId="{3320FFB9-F3A8-4176-AF1C-5FF8BBA63886}" dt="2025-11-01T20:52:39.919" v="3343" actId="478"/>
          <ac:spMkLst>
            <pc:docMk/>
            <pc:sldMk cId="1555668093" sldId="2147483026"/>
            <ac:spMk id="3" creationId="{EFC9EDE4-D4D0-98C4-2D79-FF0418DCD21B}"/>
          </ac:spMkLst>
        </pc:spChg>
        <pc:spChg chg="del">
          <ac:chgData name="Kabadi, Pooja" userId="93805713-a592-4406-af14-3f5a66cfedf0" providerId="ADAL" clId="{3320FFB9-F3A8-4176-AF1C-5FF8BBA63886}" dt="2025-11-01T20:52:38.793" v="3342" actId="478"/>
          <ac:spMkLst>
            <pc:docMk/>
            <pc:sldMk cId="1555668093" sldId="2147483026"/>
            <ac:spMk id="4" creationId="{4BEF189C-F6F7-D5DE-F8E9-6BB86C150220}"/>
          </ac:spMkLst>
        </pc:spChg>
        <pc:spChg chg="add mod">
          <ac:chgData name="Kabadi, Pooja" userId="93805713-a592-4406-af14-3f5a66cfedf0" providerId="ADAL" clId="{3320FFB9-F3A8-4176-AF1C-5FF8BBA63886}" dt="2025-11-02T00:13:58.762" v="4240" actId="1036"/>
          <ac:spMkLst>
            <pc:docMk/>
            <pc:sldMk cId="1555668093" sldId="2147483026"/>
            <ac:spMk id="5" creationId="{C6D1B78D-66AD-6B16-8DCC-0743417E2797}"/>
          </ac:spMkLst>
        </pc:spChg>
        <pc:spChg chg="add mod">
          <ac:chgData name="Kabadi, Pooja" userId="93805713-a592-4406-af14-3f5a66cfedf0" providerId="ADAL" clId="{3320FFB9-F3A8-4176-AF1C-5FF8BBA63886}" dt="2025-11-02T00:13:58.762" v="4240" actId="1036"/>
          <ac:spMkLst>
            <pc:docMk/>
            <pc:sldMk cId="1555668093" sldId="2147483026"/>
            <ac:spMk id="6" creationId="{31F49852-4D45-D27C-811A-EA4C62F42BBB}"/>
          </ac:spMkLst>
        </pc:spChg>
        <pc:spChg chg="add mod">
          <ac:chgData name="Kabadi, Pooja" userId="93805713-a592-4406-af14-3f5a66cfedf0" providerId="ADAL" clId="{3320FFB9-F3A8-4176-AF1C-5FF8BBA63886}" dt="2025-11-02T02:59:26.168" v="4932" actId="403"/>
          <ac:spMkLst>
            <pc:docMk/>
            <pc:sldMk cId="1555668093" sldId="2147483026"/>
            <ac:spMk id="7" creationId="{375424B0-A68A-7B2A-BFE3-000220BE87E1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10" creationId="{063B486C-B061-8AF9-F8E8-510D0ECFFEBF}"/>
          </ac:spMkLst>
        </pc:spChg>
        <pc:spChg chg="add mod">
          <ac:chgData name="Kabadi, Pooja" userId="93805713-a592-4406-af14-3f5a66cfedf0" providerId="ADAL" clId="{3320FFB9-F3A8-4176-AF1C-5FF8BBA63886}" dt="2025-11-02T00:11:02.057" v="4151" actId="1076"/>
          <ac:spMkLst>
            <pc:docMk/>
            <pc:sldMk cId="1555668093" sldId="2147483026"/>
            <ac:spMk id="13" creationId="{A579B4BF-3413-AE30-AC0C-BA3ABBAF1E38}"/>
          </ac:spMkLst>
        </pc:spChg>
        <pc:spChg chg="add mod">
          <ac:chgData name="Kabadi, Pooja" userId="93805713-a592-4406-af14-3f5a66cfedf0" providerId="ADAL" clId="{3320FFB9-F3A8-4176-AF1C-5FF8BBA63886}" dt="2025-11-02T00:10:38.891" v="4128" actId="20577"/>
          <ac:spMkLst>
            <pc:docMk/>
            <pc:sldMk cId="1555668093" sldId="2147483026"/>
            <ac:spMk id="14" creationId="{4D887332-EE44-FE12-E4C2-614D060D5544}"/>
          </ac:spMkLst>
        </pc:spChg>
        <pc:spChg chg="add mod">
          <ac:chgData name="Kabadi, Pooja" userId="93805713-a592-4406-af14-3f5a66cfedf0" providerId="ADAL" clId="{3320FFB9-F3A8-4176-AF1C-5FF8BBA63886}" dt="2025-11-02T00:01:28.786" v="3875" actId="1076"/>
          <ac:spMkLst>
            <pc:docMk/>
            <pc:sldMk cId="1555668093" sldId="2147483026"/>
            <ac:spMk id="17" creationId="{89C68DE9-3BED-367C-4FEB-AD8BEEBFF6BF}"/>
          </ac:spMkLst>
        </pc:spChg>
        <pc:spChg chg="add mod">
          <ac:chgData name="Kabadi, Pooja" userId="93805713-a592-4406-af14-3f5a66cfedf0" providerId="ADAL" clId="{3320FFB9-F3A8-4176-AF1C-5FF8BBA63886}" dt="2025-11-02T00:14:11.697" v="4251" actId="1038"/>
          <ac:spMkLst>
            <pc:docMk/>
            <pc:sldMk cId="1555668093" sldId="2147483026"/>
            <ac:spMk id="18" creationId="{D2005923-2DE8-F86C-4EF0-21A71BBCC3D5}"/>
          </ac:spMkLst>
        </pc:spChg>
        <pc:spChg chg="add mod">
          <ac:chgData name="Kabadi, Pooja" userId="93805713-a592-4406-af14-3f5a66cfedf0" providerId="ADAL" clId="{3320FFB9-F3A8-4176-AF1C-5FF8BBA63886}" dt="2025-11-02T00:13:42.442" v="4220" actId="1035"/>
          <ac:spMkLst>
            <pc:docMk/>
            <pc:sldMk cId="1555668093" sldId="2147483026"/>
            <ac:spMk id="20" creationId="{2451F2CE-9657-4877-362B-13B1C9C2BE68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22" creationId="{0DB0BC94-0FC0-14ED-A14A-56D788267E5B}"/>
          </ac:spMkLst>
        </pc:spChg>
        <pc:spChg chg="add del">
          <ac:chgData name="Kabadi, Pooja" userId="93805713-a592-4406-af14-3f5a66cfedf0" providerId="ADAL" clId="{3320FFB9-F3A8-4176-AF1C-5FF8BBA63886}" dt="2025-11-01T23:59:00.850" v="3841" actId="478"/>
          <ac:spMkLst>
            <pc:docMk/>
            <pc:sldMk cId="1555668093" sldId="2147483026"/>
            <ac:spMk id="23" creationId="{35485C73-E714-8B90-C9D8-DF6DFA22C16E}"/>
          </ac:spMkLst>
        </pc:spChg>
        <pc:spChg chg="add mod">
          <ac:chgData name="Kabadi, Pooja" userId="93805713-a592-4406-af14-3f5a66cfedf0" providerId="ADAL" clId="{3320FFB9-F3A8-4176-AF1C-5FF8BBA63886}" dt="2025-11-02T00:14:32.556" v="4252" actId="14100"/>
          <ac:spMkLst>
            <pc:docMk/>
            <pc:sldMk cId="1555668093" sldId="2147483026"/>
            <ac:spMk id="24" creationId="{002C258A-CD0B-6A6A-0A1C-3AFE1ACA876A}"/>
          </ac:spMkLst>
        </pc:spChg>
        <pc:spChg chg="add mod">
          <ac:chgData name="Kabadi, Pooja" userId="93805713-a592-4406-af14-3f5a66cfedf0" providerId="ADAL" clId="{3320FFB9-F3A8-4176-AF1C-5FF8BBA63886}" dt="2025-11-02T00:00:14.814" v="3856" actId="1076"/>
          <ac:spMkLst>
            <pc:docMk/>
            <pc:sldMk cId="1555668093" sldId="2147483026"/>
            <ac:spMk id="25" creationId="{0A8928A3-DC12-E652-A27B-B490E6D07C95}"/>
          </ac:spMkLst>
        </pc:spChg>
        <pc:spChg chg="add mod">
          <ac:chgData name="Kabadi, Pooja" userId="93805713-a592-4406-af14-3f5a66cfedf0" providerId="ADAL" clId="{3320FFB9-F3A8-4176-AF1C-5FF8BBA63886}" dt="2025-11-02T00:14:11.697" v="4251" actId="1038"/>
          <ac:spMkLst>
            <pc:docMk/>
            <pc:sldMk cId="1555668093" sldId="2147483026"/>
            <ac:spMk id="26" creationId="{F2C9323D-1514-6C69-256A-FEA9F3FC22EA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27" creationId="{BB6E7C95-CF0F-EC09-3A78-B893E63B9EF2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32" creationId="{8758B1CE-32BB-3862-D5BF-1327C3D0239E}"/>
          </ac:spMkLst>
        </pc:spChg>
        <pc:spChg chg="add mod ord">
          <ac:chgData name="Kabadi, Pooja" userId="93805713-a592-4406-af14-3f5a66cfedf0" providerId="ADAL" clId="{3320FFB9-F3A8-4176-AF1C-5FF8BBA63886}" dt="2025-11-02T02:58:57.155" v="4931" actId="1035"/>
          <ac:spMkLst>
            <pc:docMk/>
            <pc:sldMk cId="1555668093" sldId="2147483026"/>
            <ac:spMk id="33" creationId="{C5D172CF-A912-EBAD-33D2-C9A50C611621}"/>
          </ac:spMkLst>
        </pc:spChg>
        <pc:spChg chg="add mod">
          <ac:chgData name="Kabadi, Pooja" userId="93805713-a592-4406-af14-3f5a66cfedf0" providerId="ADAL" clId="{3320FFB9-F3A8-4176-AF1C-5FF8BBA63886}" dt="2025-11-02T00:14:11.697" v="4251" actId="1038"/>
          <ac:spMkLst>
            <pc:docMk/>
            <pc:sldMk cId="1555668093" sldId="2147483026"/>
            <ac:spMk id="34" creationId="{22703947-2D82-933D-280B-30EBB3E39402}"/>
          </ac:spMkLst>
        </pc:spChg>
        <pc:spChg chg="add mod">
          <ac:chgData name="Kabadi, Pooja" userId="93805713-a592-4406-af14-3f5a66cfedf0" providerId="ADAL" clId="{3320FFB9-F3A8-4176-AF1C-5FF8BBA63886}" dt="2025-11-02T00:24:43.723" v="4503" actId="1076"/>
          <ac:spMkLst>
            <pc:docMk/>
            <pc:sldMk cId="1555668093" sldId="2147483026"/>
            <ac:spMk id="37" creationId="{A28B35C9-CEE0-890D-DD85-19BC8109852F}"/>
          </ac:spMkLst>
        </pc:spChg>
        <pc:spChg chg="add mod">
          <ac:chgData name="Kabadi, Pooja" userId="93805713-a592-4406-af14-3f5a66cfedf0" providerId="ADAL" clId="{3320FFB9-F3A8-4176-AF1C-5FF8BBA63886}" dt="2025-11-02T00:08:16.846" v="4066" actId="1076"/>
          <ac:spMkLst>
            <pc:docMk/>
            <pc:sldMk cId="1555668093" sldId="2147483026"/>
            <ac:spMk id="38" creationId="{777D59E6-D6C5-C685-3E14-D273F98A46E7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41" creationId="{55EDC434-855C-5944-CDBC-2E1BAEE9C66A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42" creationId="{F2B44748-13A8-2AE0-CE7F-31E2BA20168D}"/>
          </ac:spMkLst>
        </pc:spChg>
        <pc:spChg chg="add mod ord">
          <ac:chgData name="Kabadi, Pooja" userId="93805713-a592-4406-af14-3f5a66cfedf0" providerId="ADAL" clId="{3320FFB9-F3A8-4176-AF1C-5FF8BBA63886}" dt="2025-11-02T02:58:40.078" v="4928" actId="14100"/>
          <ac:spMkLst>
            <pc:docMk/>
            <pc:sldMk cId="1555668093" sldId="2147483026"/>
            <ac:spMk id="43" creationId="{6799451C-79AB-BCD9-CE66-8918893A4008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46" creationId="{5E19186D-BC2E-8345-067B-B7C9A01D71A9}"/>
          </ac:spMkLst>
        </pc:spChg>
        <pc:spChg chg="add mod">
          <ac:chgData name="Kabadi, Pooja" userId="93805713-a592-4406-af14-3f5a66cfedf0" providerId="ADAL" clId="{3320FFB9-F3A8-4176-AF1C-5FF8BBA63886}" dt="2025-11-02T00:20:10.637" v="4386" actId="20577"/>
          <ac:spMkLst>
            <pc:docMk/>
            <pc:sldMk cId="1555668093" sldId="2147483026"/>
            <ac:spMk id="47" creationId="{992CABD6-EF93-CAEA-3041-8410C76210D6}"/>
          </ac:spMkLst>
        </pc:spChg>
        <pc:spChg chg="add mod">
          <ac:chgData name="Kabadi, Pooja" userId="93805713-a592-4406-af14-3f5a66cfedf0" providerId="ADAL" clId="{3320FFB9-F3A8-4176-AF1C-5FF8BBA63886}" dt="2025-11-02T00:19:26.117" v="4355" actId="1076"/>
          <ac:spMkLst>
            <pc:docMk/>
            <pc:sldMk cId="1555668093" sldId="2147483026"/>
            <ac:spMk id="50" creationId="{CC28C155-28E0-87A8-081C-AE00DB3253FB}"/>
          </ac:spMkLst>
        </pc:spChg>
        <pc:spChg chg="add mod">
          <ac:chgData name="Kabadi, Pooja" userId="93805713-a592-4406-af14-3f5a66cfedf0" providerId="ADAL" clId="{3320FFB9-F3A8-4176-AF1C-5FF8BBA63886}" dt="2025-11-02T00:18:03.540" v="4348" actId="1076"/>
          <ac:spMkLst>
            <pc:docMk/>
            <pc:sldMk cId="1555668093" sldId="2147483026"/>
            <ac:spMk id="51" creationId="{256C038E-2A89-6EF6-0AF1-63C37503DAAF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52" creationId="{0E574142-6EE5-85A5-3857-A2842FCA69CA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53" creationId="{03ACC483-14DA-A554-9F86-257B13FAC584}"/>
          </ac:spMkLst>
        </pc:spChg>
        <pc:spChg chg="add mod">
          <ac:chgData name="Kabadi, Pooja" userId="93805713-a592-4406-af14-3f5a66cfedf0" providerId="ADAL" clId="{3320FFB9-F3A8-4176-AF1C-5FF8BBA63886}" dt="2025-11-02T02:57:59.318" v="4926" actId="1035"/>
          <ac:spMkLst>
            <pc:docMk/>
            <pc:sldMk cId="1555668093" sldId="2147483026"/>
            <ac:spMk id="54" creationId="{A4AA5B92-BE35-A749-16EC-5FB19D47EB8A}"/>
          </ac:spMkLst>
        </pc:spChg>
        <pc:spChg chg="add mod">
          <ac:chgData name="Kabadi, Pooja" userId="93805713-a592-4406-af14-3f5a66cfedf0" providerId="ADAL" clId="{3320FFB9-F3A8-4176-AF1C-5FF8BBA63886}" dt="2025-11-02T00:30:56.508" v="4821" actId="1076"/>
          <ac:spMkLst>
            <pc:docMk/>
            <pc:sldMk cId="1555668093" sldId="2147483026"/>
            <ac:spMk id="55" creationId="{05DE0A33-9A03-AB84-0CE4-741B54120893}"/>
          </ac:spMkLst>
        </pc:spChg>
        <pc:grpChg chg="add mod">
          <ac:chgData name="Kabadi, Pooja" userId="93805713-a592-4406-af14-3f5a66cfedf0" providerId="ADAL" clId="{3320FFB9-F3A8-4176-AF1C-5FF8BBA63886}" dt="2025-11-02T00:13:42.442" v="4220" actId="1035"/>
          <ac:grpSpMkLst>
            <pc:docMk/>
            <pc:sldMk cId="1555668093" sldId="2147483026"/>
            <ac:grpSpMk id="21" creationId="{5C88E84A-E031-A68F-85B2-CD508F8B4944}"/>
          </ac:grpSpMkLst>
        </pc:grpChg>
        <pc:picChg chg="add mod modCrop">
          <ac:chgData name="Kabadi, Pooja" userId="93805713-a592-4406-af14-3f5a66cfedf0" providerId="ADAL" clId="{3320FFB9-F3A8-4176-AF1C-5FF8BBA63886}" dt="2025-11-01T23:59:39.187" v="3847" actId="1076"/>
          <ac:picMkLst>
            <pc:docMk/>
            <pc:sldMk cId="1555668093" sldId="2147483026"/>
            <ac:picMk id="9" creationId="{399925AA-8581-096A-A632-F02DB42847EA}"/>
          </ac:picMkLst>
        </pc:picChg>
        <pc:picChg chg="add mod modCrop">
          <ac:chgData name="Kabadi, Pooja" userId="93805713-a592-4406-af14-3f5a66cfedf0" providerId="ADAL" clId="{3320FFB9-F3A8-4176-AF1C-5FF8BBA63886}" dt="2025-11-02T00:00:19.019" v="3857" actId="1076"/>
          <ac:picMkLst>
            <pc:docMk/>
            <pc:sldMk cId="1555668093" sldId="2147483026"/>
            <ac:picMk id="12" creationId="{9F8215FF-59AB-B856-75F2-C707EC6986BD}"/>
          </ac:picMkLst>
        </pc:picChg>
        <pc:picChg chg="add mod modCrop">
          <ac:chgData name="Kabadi, Pooja" userId="93805713-a592-4406-af14-3f5a66cfedf0" providerId="ADAL" clId="{3320FFB9-F3A8-4176-AF1C-5FF8BBA63886}" dt="2025-11-02T00:01:19.101" v="3873" actId="1076"/>
          <ac:picMkLst>
            <pc:docMk/>
            <pc:sldMk cId="1555668093" sldId="2147483026"/>
            <ac:picMk id="16" creationId="{5CE70861-46DE-3656-1561-19C4D084F3D3}"/>
          </ac:picMkLst>
        </pc:picChg>
        <pc:picChg chg="add mod">
          <ac:chgData name="Kabadi, Pooja" userId="93805713-a592-4406-af14-3f5a66cfedf0" providerId="ADAL" clId="{3320FFB9-F3A8-4176-AF1C-5FF8BBA63886}" dt="2025-11-02T00:13:42.442" v="4220" actId="1035"/>
          <ac:picMkLst>
            <pc:docMk/>
            <pc:sldMk cId="1555668093" sldId="2147483026"/>
            <ac:picMk id="19" creationId="{FAF41EC1-3BB3-2F7C-0CD1-041E38A525BA}"/>
          </ac:picMkLst>
        </pc:picChg>
        <pc:picChg chg="add mod modCrop">
          <ac:chgData name="Kabadi, Pooja" userId="93805713-a592-4406-af14-3f5a66cfedf0" providerId="ADAL" clId="{3320FFB9-F3A8-4176-AF1C-5FF8BBA63886}" dt="2025-11-02T00:24:49.733" v="4504" actId="1076"/>
          <ac:picMkLst>
            <pc:docMk/>
            <pc:sldMk cId="1555668093" sldId="2147483026"/>
            <ac:picMk id="36" creationId="{60B0EFDD-1681-6A89-5C2C-BE9610F0290F}"/>
          </ac:picMkLst>
        </pc:picChg>
        <pc:picChg chg="add mod modCrop">
          <ac:chgData name="Kabadi, Pooja" userId="93805713-a592-4406-af14-3f5a66cfedf0" providerId="ADAL" clId="{3320FFB9-F3A8-4176-AF1C-5FF8BBA63886}" dt="2025-11-02T00:09:02.125" v="4077"/>
          <ac:picMkLst>
            <pc:docMk/>
            <pc:sldMk cId="1555668093" sldId="2147483026"/>
            <ac:picMk id="40" creationId="{00D53961-E447-433E-EB3B-4D553AB6338D}"/>
          </ac:picMkLst>
        </pc:picChg>
        <pc:picChg chg="add mod modCrop">
          <ac:chgData name="Kabadi, Pooja" userId="93805713-a592-4406-af14-3f5a66cfedf0" providerId="ADAL" clId="{3320FFB9-F3A8-4176-AF1C-5FF8BBA63886}" dt="2025-11-02T00:15:45.652" v="4263" actId="1076"/>
          <ac:picMkLst>
            <pc:docMk/>
            <pc:sldMk cId="1555668093" sldId="2147483026"/>
            <ac:picMk id="45" creationId="{C1CA0F92-1EAD-B167-869F-9BCCF8B156D3}"/>
          </ac:picMkLst>
        </pc:picChg>
        <pc:picChg chg="add mod modCrop">
          <ac:chgData name="Kabadi, Pooja" userId="93805713-a592-4406-af14-3f5a66cfedf0" providerId="ADAL" clId="{3320FFB9-F3A8-4176-AF1C-5FF8BBA63886}" dt="2025-11-02T00:17:22.974" v="4311"/>
          <ac:picMkLst>
            <pc:docMk/>
            <pc:sldMk cId="1555668093" sldId="2147483026"/>
            <ac:picMk id="49" creationId="{E1146723-0DBB-F210-A782-686E5F983254}"/>
          </ac:picMkLst>
        </pc:picChg>
        <pc:picChg chg="add mod">
          <ac:chgData name="Kabadi, Pooja" userId="93805713-a592-4406-af14-3f5a66cfedf0" providerId="ADAL" clId="{3320FFB9-F3A8-4176-AF1C-5FF8BBA63886}" dt="2025-11-02T00:00:34.593" v="3861" actId="1076"/>
          <ac:picMkLst>
            <pc:docMk/>
            <pc:sldMk cId="1555668093" sldId="2147483026"/>
            <ac:picMk id="7170" creationId="{4A97A2CA-9F77-E579-4173-0561C2B510EB}"/>
          </ac:picMkLst>
        </pc:picChg>
        <pc:picChg chg="add del mod">
          <ac:chgData name="Kabadi, Pooja" userId="93805713-a592-4406-af14-3f5a66cfedf0" providerId="ADAL" clId="{3320FFB9-F3A8-4176-AF1C-5FF8BBA63886}" dt="2025-11-02T00:13:42.442" v="4220" actId="1035"/>
          <ac:picMkLst>
            <pc:docMk/>
            <pc:sldMk cId="1555668093" sldId="2147483026"/>
            <ac:picMk id="7172" creationId="{8CF204DB-E477-CCBA-4A33-77C03B795538}"/>
          </ac:picMkLst>
        </pc:picChg>
        <pc:picChg chg="add del mod">
          <ac:chgData name="Kabadi, Pooja" userId="93805713-a592-4406-af14-3f5a66cfedf0" providerId="ADAL" clId="{3320FFB9-F3A8-4176-AF1C-5FF8BBA63886}" dt="2025-11-02T00:13:42.442" v="4220" actId="1035"/>
          <ac:picMkLst>
            <pc:docMk/>
            <pc:sldMk cId="1555668093" sldId="2147483026"/>
            <ac:picMk id="7174" creationId="{C74ACC38-A9A5-61F1-F7B8-7EC4EBD71F41}"/>
          </ac:picMkLst>
        </pc:picChg>
        <pc:picChg chg="add del">
          <ac:chgData name="Kabadi, Pooja" userId="93805713-a592-4406-af14-3f5a66cfedf0" providerId="ADAL" clId="{3320FFB9-F3A8-4176-AF1C-5FF8BBA63886}" dt="2025-11-01T23:56:11.836" v="3747" actId="478"/>
          <ac:picMkLst>
            <pc:docMk/>
            <pc:sldMk cId="1555668093" sldId="2147483026"/>
            <ac:picMk id="7176" creationId="{2E826F7B-46FF-AB72-2F0C-D649E9E7F87C}"/>
          </ac:picMkLst>
        </pc:picChg>
        <pc:picChg chg="add mod">
          <ac:chgData name="Kabadi, Pooja" userId="93805713-a592-4406-af14-3f5a66cfedf0" providerId="ADAL" clId="{3320FFB9-F3A8-4176-AF1C-5FF8BBA63886}" dt="2025-11-02T00:13:42.442" v="4220" actId="1035"/>
          <ac:picMkLst>
            <pc:docMk/>
            <pc:sldMk cId="1555668093" sldId="2147483026"/>
            <ac:picMk id="7178" creationId="{4A48273A-E256-5745-5919-22D95C1A0001}"/>
          </ac:picMkLst>
        </pc:picChg>
        <pc:picChg chg="add mod">
          <ac:chgData name="Kabadi, Pooja" userId="93805713-a592-4406-af14-3f5a66cfedf0" providerId="ADAL" clId="{3320FFB9-F3A8-4176-AF1C-5FF8BBA63886}" dt="2025-11-02T00:20:01.932" v="4384"/>
          <ac:picMkLst>
            <pc:docMk/>
            <pc:sldMk cId="1555668093" sldId="2147483026"/>
            <ac:picMk id="7180" creationId="{2DDAF522-44B8-C1C4-8946-31327A13BEE1}"/>
          </ac:picMkLst>
        </pc:picChg>
        <pc:picChg chg="add mod">
          <ac:chgData name="Kabadi, Pooja" userId="93805713-a592-4406-af14-3f5a66cfedf0" providerId="ADAL" clId="{3320FFB9-F3A8-4176-AF1C-5FF8BBA63886}" dt="2025-11-02T00:31:15.443" v="4822" actId="1076"/>
          <ac:picMkLst>
            <pc:docMk/>
            <pc:sldMk cId="1555668093" sldId="2147483026"/>
            <ac:picMk id="7182" creationId="{67C1CDF1-8BCB-223C-32A3-3660E0BAB07F}"/>
          </ac:picMkLst>
        </pc:picChg>
        <pc:cxnChg chg="add mod">
          <ac:chgData name="Kabadi, Pooja" userId="93805713-a592-4406-af14-3f5a66cfedf0" providerId="ADAL" clId="{3320FFB9-F3A8-4176-AF1C-5FF8BBA63886}" dt="2025-11-02T00:04:31.841" v="3931" actId="1036"/>
          <ac:cxnSpMkLst>
            <pc:docMk/>
            <pc:sldMk cId="1555668093" sldId="2147483026"/>
            <ac:cxnSpMk id="29" creationId="{026243E8-AE5C-5EBD-4DAF-B01D3ECFF4D1}"/>
          </ac:cxnSpMkLst>
        </pc:cxnChg>
        <pc:cxnChg chg="add mod">
          <ac:chgData name="Kabadi, Pooja" userId="93805713-a592-4406-af14-3f5a66cfedf0" providerId="ADAL" clId="{3320FFB9-F3A8-4176-AF1C-5FF8BBA63886}" dt="2025-11-02T00:04:31.841" v="3931" actId="1036"/>
          <ac:cxnSpMkLst>
            <pc:docMk/>
            <pc:sldMk cId="1555668093" sldId="2147483026"/>
            <ac:cxnSpMk id="31" creationId="{877EA4A4-1598-F8B3-36FE-6936D6CC006B}"/>
          </ac:cxnSpMkLst>
        </pc:cxnChg>
      </pc:sldChg>
      <pc:sldChg chg="addSp modSp add mod">
        <pc:chgData name="Kabadi, Pooja" userId="93805713-a592-4406-af14-3f5a66cfedf0" providerId="ADAL" clId="{3320FFB9-F3A8-4176-AF1C-5FF8BBA63886}" dt="2025-11-02T03:23:11.267" v="4953" actId="167"/>
        <pc:sldMkLst>
          <pc:docMk/>
          <pc:sldMk cId="2097340424" sldId="2147483027"/>
        </pc:sldMkLst>
        <pc:spChg chg="add mod ord">
          <ac:chgData name="Kabadi, Pooja" userId="93805713-a592-4406-af14-3f5a66cfedf0" providerId="ADAL" clId="{3320FFB9-F3A8-4176-AF1C-5FF8BBA63886}" dt="2025-11-02T03:22:45.216" v="4948" actId="14100"/>
          <ac:spMkLst>
            <pc:docMk/>
            <pc:sldMk cId="2097340424" sldId="2147483027"/>
            <ac:spMk id="10" creationId="{3179C324-061C-D0C7-5854-4BEBCA073C37}"/>
          </ac:spMkLst>
        </pc:spChg>
        <pc:spChg chg="add mod ord">
          <ac:chgData name="Kabadi, Pooja" userId="93805713-a592-4406-af14-3f5a66cfedf0" providerId="ADAL" clId="{3320FFB9-F3A8-4176-AF1C-5FF8BBA63886}" dt="2025-11-02T03:23:11.267" v="4953" actId="167"/>
          <ac:spMkLst>
            <pc:docMk/>
            <pc:sldMk cId="2097340424" sldId="2147483027"/>
            <ac:spMk id="12" creationId="{4C3D322D-E5F9-8A4A-961A-28834BF85D87}"/>
          </ac:spMkLst>
        </pc:spChg>
        <pc:spChg chg="mod">
          <ac:chgData name="Kabadi, Pooja" userId="93805713-a592-4406-af14-3f5a66cfedf0" providerId="ADAL" clId="{3320FFB9-F3A8-4176-AF1C-5FF8BBA63886}" dt="2025-11-02T03:22:37.301" v="4947" actId="1076"/>
          <ac:spMkLst>
            <pc:docMk/>
            <pc:sldMk cId="2097340424" sldId="2147483027"/>
            <ac:spMk id="42" creationId="{F06A01E6-FE07-A6E6-BD35-9722E8BC7D4F}"/>
          </ac:spMkLst>
        </pc:spChg>
      </pc:sldChg>
      <pc:sldChg chg="new del">
        <pc:chgData name="Kabadi, Pooja" userId="93805713-a592-4406-af14-3f5a66cfedf0" providerId="ADAL" clId="{3320FFB9-F3A8-4176-AF1C-5FF8BBA63886}" dt="2025-11-02T03:49:01.403" v="5271" actId="680"/>
        <pc:sldMkLst>
          <pc:docMk/>
          <pc:sldMk cId="3110517615" sldId="214748302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1006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S Distribution'!$B$9:$B$13</c:f>
              <c:strCache>
                <c:ptCount val="5"/>
                <c:pt idx="0">
                  <c:v>LOS 3</c:v>
                </c:pt>
                <c:pt idx="1">
                  <c:v>LOS 2</c:v>
                </c:pt>
                <c:pt idx="2">
                  <c:v>LOS 4</c:v>
                </c:pt>
                <c:pt idx="3">
                  <c:v>LOS 5</c:v>
                </c:pt>
                <c:pt idx="4">
                  <c:v>LOS 1</c:v>
                </c:pt>
              </c:strCache>
            </c:strRef>
          </c:cat>
          <c:val>
            <c:numRef>
              <c:f>'LOS Distribution'!$C$9:$C$13</c:f>
              <c:numCache>
                <c:formatCode>0%</c:formatCode>
                <c:ptCount val="5"/>
                <c:pt idx="0">
                  <c:v>0.48114692989356833</c:v>
                </c:pt>
                <c:pt idx="1">
                  <c:v>0.31860750516182595</c:v>
                </c:pt>
                <c:pt idx="2">
                  <c:v>0.17464944363624921</c:v>
                </c:pt>
                <c:pt idx="3">
                  <c:v>2.5596121308356468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A-4F1C-BDD0-3EDD083984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95599599"/>
        <c:axId val="1995601999"/>
      </c:barChart>
      <c:catAx>
        <c:axId val="1995599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95601999"/>
        <c:crosses val="autoZero"/>
        <c:auto val="1"/>
        <c:lblAlgn val="ctr"/>
        <c:lblOffset val="100"/>
        <c:noMultiLvlLbl val="0"/>
      </c:catAx>
      <c:valAx>
        <c:axId val="199560199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95599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1006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S Distribution'!$B$9:$B$13</c:f>
              <c:strCache>
                <c:ptCount val="5"/>
                <c:pt idx="0">
                  <c:v>LOS 3</c:v>
                </c:pt>
                <c:pt idx="1">
                  <c:v>LOS 2</c:v>
                </c:pt>
                <c:pt idx="2">
                  <c:v>LOS 4</c:v>
                </c:pt>
                <c:pt idx="3">
                  <c:v>LOS 5</c:v>
                </c:pt>
                <c:pt idx="4">
                  <c:v>LOS 1</c:v>
                </c:pt>
              </c:strCache>
            </c:strRef>
          </c:cat>
          <c:val>
            <c:numRef>
              <c:f>'LOS Distribution'!$C$9:$C$13</c:f>
              <c:numCache>
                <c:formatCode>0%</c:formatCode>
                <c:ptCount val="5"/>
                <c:pt idx="0">
                  <c:v>0.48114692989356833</c:v>
                </c:pt>
                <c:pt idx="1">
                  <c:v>0.31860750516182595</c:v>
                </c:pt>
                <c:pt idx="2">
                  <c:v>0.17464944363624921</c:v>
                </c:pt>
                <c:pt idx="3">
                  <c:v>2.5596121308356468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2E-4D84-A7F5-F77B84E485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95599599"/>
        <c:axId val="1995601999"/>
      </c:barChart>
      <c:catAx>
        <c:axId val="1995599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95601999"/>
        <c:crosses val="autoZero"/>
        <c:auto val="1"/>
        <c:lblAlgn val="ctr"/>
        <c:lblOffset val="100"/>
        <c:noMultiLvlLbl val="0"/>
      </c:catAx>
      <c:valAx>
        <c:axId val="199560199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95599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Proc Family Dis'!$B$25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B$26:$B$3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6F18-42AE-ACD6-F9C6BFEB2A30}"/>
            </c:ext>
          </c:extLst>
        </c:ser>
        <c:ser>
          <c:idx val="1"/>
          <c:order val="1"/>
          <c:tx>
            <c:strRef>
              <c:f>'Proc Family Dis'!$C$25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18-42AE-ACD6-F9C6BFEB2A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C$26:$C$32</c:f>
              <c:numCache>
                <c:formatCode>0%</c:formatCode>
                <c:ptCount val="7"/>
                <c:pt idx="1">
                  <c:v>0.74978067843470864</c:v>
                </c:pt>
                <c:pt idx="2">
                  <c:v>0.46786939068481498</c:v>
                </c:pt>
                <c:pt idx="3">
                  <c:v>0.14771988596656646</c:v>
                </c:pt>
                <c:pt idx="4">
                  <c:v>0.93675672052021186</c:v>
                </c:pt>
                <c:pt idx="6">
                  <c:v>0.88491599319438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18-42AE-ACD6-F9C6BFEB2A30}"/>
            </c:ext>
          </c:extLst>
        </c:ser>
        <c:ser>
          <c:idx val="2"/>
          <c:order val="2"/>
          <c:tx>
            <c:strRef>
              <c:f>'Proc Family Dis'!$D$25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18-42AE-ACD6-F9C6BFEB2A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D$26:$D$32</c:f>
              <c:numCache>
                <c:formatCode>General</c:formatCode>
                <c:ptCount val="7"/>
                <c:pt idx="0" formatCode="0%">
                  <c:v>0.9503355555802061</c:v>
                </c:pt>
                <c:pt idx="2" formatCode="0%">
                  <c:v>0.28457970012760525</c:v>
                </c:pt>
                <c:pt idx="3" formatCode="0%">
                  <c:v>0.48994886243885122</c:v>
                </c:pt>
                <c:pt idx="4" formatCode="0%">
                  <c:v>6.3243279479788167E-2</c:v>
                </c:pt>
                <c:pt idx="5" formatCode="0%">
                  <c:v>0.56055933645257339</c:v>
                </c:pt>
                <c:pt idx="6" formatCode="0%">
                  <c:v>0.11508400680561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18-42AE-ACD6-F9C6BFEB2A30}"/>
            </c:ext>
          </c:extLst>
        </c:ser>
        <c:ser>
          <c:idx val="3"/>
          <c:order val="3"/>
          <c:tx>
            <c:strRef>
              <c:f>'Proc Family Dis'!$E$25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0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E$26:$E$32</c:f>
              <c:numCache>
                <c:formatCode>0%</c:formatCode>
                <c:ptCount val="7"/>
                <c:pt idx="0">
                  <c:v>4.9358284617688493E-2</c:v>
                </c:pt>
                <c:pt idx="1">
                  <c:v>0.25021932156529136</c:v>
                </c:pt>
                <c:pt idx="2">
                  <c:v>0.20859474691620586</c:v>
                </c:pt>
                <c:pt idx="3">
                  <c:v>0.30625741827419051</c:v>
                </c:pt>
                <c:pt idx="5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18-42AE-ACD6-F9C6BFEB2A30}"/>
            </c:ext>
          </c:extLst>
        </c:ser>
        <c:ser>
          <c:idx val="4"/>
          <c:order val="4"/>
          <c:tx>
            <c:strRef>
              <c:f>'Proc Family Dis'!$F$25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F$26:$F$32</c:f>
              <c:numCache>
                <c:formatCode>General</c:formatCode>
                <c:ptCount val="7"/>
                <c:pt idx="2" formatCode="0%">
                  <c:v>3.8956162271373884E-2</c:v>
                </c:pt>
                <c:pt idx="3" formatCode="0%">
                  <c:v>5.6073833320391793E-2</c:v>
                </c:pt>
                <c:pt idx="5" formatCode="0%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18-42AE-ACD6-F9C6BFEB2A3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4941711"/>
        <c:axId val="544942191"/>
      </c:barChart>
      <c:catAx>
        <c:axId val="54494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2191"/>
        <c:crosses val="autoZero"/>
        <c:auto val="1"/>
        <c:lblAlgn val="ctr"/>
        <c:lblOffset val="100"/>
        <c:noMultiLvlLbl val="0"/>
      </c:catAx>
      <c:valAx>
        <c:axId val="54494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Pareto!PivotTable11</c:name>
    <c:fmtId val="9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areto!$B$3</c:f>
              <c:strCache>
                <c:ptCount val="1"/>
                <c:pt idx="0">
                  <c:v>Sum of 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B$4:$B$26</c:f>
              <c:numCache>
                <c:formatCode>General</c:formatCode>
                <c:ptCount val="22"/>
                <c:pt idx="0">
                  <c:v>184344</c:v>
                </c:pt>
                <c:pt idx="1">
                  <c:v>184344</c:v>
                </c:pt>
                <c:pt idx="2">
                  <c:v>184344</c:v>
                </c:pt>
                <c:pt idx="3">
                  <c:v>184344</c:v>
                </c:pt>
                <c:pt idx="4">
                  <c:v>184344</c:v>
                </c:pt>
                <c:pt idx="5">
                  <c:v>184344</c:v>
                </c:pt>
                <c:pt idx="6">
                  <c:v>184344</c:v>
                </c:pt>
                <c:pt idx="7">
                  <c:v>184344</c:v>
                </c:pt>
                <c:pt idx="8">
                  <c:v>184344</c:v>
                </c:pt>
                <c:pt idx="9">
                  <c:v>166780</c:v>
                </c:pt>
                <c:pt idx="10">
                  <c:v>166780</c:v>
                </c:pt>
                <c:pt idx="11">
                  <c:v>166780</c:v>
                </c:pt>
                <c:pt idx="12">
                  <c:v>166780</c:v>
                </c:pt>
                <c:pt idx="13">
                  <c:v>166780</c:v>
                </c:pt>
                <c:pt idx="14">
                  <c:v>165486</c:v>
                </c:pt>
                <c:pt idx="15">
                  <c:v>165486</c:v>
                </c:pt>
                <c:pt idx="16">
                  <c:v>165486</c:v>
                </c:pt>
                <c:pt idx="17">
                  <c:v>165486</c:v>
                </c:pt>
                <c:pt idx="18">
                  <c:v>75232</c:v>
                </c:pt>
                <c:pt idx="19">
                  <c:v>75232</c:v>
                </c:pt>
                <c:pt idx="20">
                  <c:v>75232</c:v>
                </c:pt>
                <c:pt idx="21">
                  <c:v>75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5765327"/>
        <c:axId val="825760527"/>
      </c:barChart>
      <c:lineChart>
        <c:grouping val="standard"/>
        <c:varyColors val="0"/>
        <c:ser>
          <c:idx val="1"/>
          <c:order val="1"/>
          <c:tx>
            <c:strRef>
              <c:f>Pareto!$C$3</c:f>
              <c:strCache>
                <c:ptCount val="1"/>
                <c:pt idx="0">
                  <c:v>Sum of 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C$4:$C$26</c:f>
              <c:numCache>
                <c:formatCode>0.00%</c:formatCode>
                <c:ptCount val="22"/>
                <c:pt idx="0">
                  <c:v>5.3342315157870614E-2</c:v>
                </c:pt>
                <c:pt idx="1">
                  <c:v>0.10668463031574123</c:v>
                </c:pt>
                <c:pt idx="2">
                  <c:v>0.16002694547361185</c:v>
                </c:pt>
                <c:pt idx="3">
                  <c:v>0.21336926063148245</c:v>
                </c:pt>
                <c:pt idx="4">
                  <c:v>0.26671157578935306</c:v>
                </c:pt>
                <c:pt idx="5">
                  <c:v>0.3200538909472237</c:v>
                </c:pt>
                <c:pt idx="6">
                  <c:v>0.37339620610509427</c:v>
                </c:pt>
                <c:pt idx="7">
                  <c:v>0.42673852126296491</c:v>
                </c:pt>
                <c:pt idx="8">
                  <c:v>0.48008083642083554</c:v>
                </c:pt>
                <c:pt idx="9">
                  <c:v>0.52834078153447994</c:v>
                </c:pt>
                <c:pt idx="10">
                  <c:v>0.57660072664812434</c:v>
                </c:pt>
                <c:pt idx="11">
                  <c:v>0.62486067176176863</c:v>
                </c:pt>
                <c:pt idx="12">
                  <c:v>0.67312061687541302</c:v>
                </c:pt>
                <c:pt idx="13">
                  <c:v>0.72138056198905742</c:v>
                </c:pt>
                <c:pt idx="14">
                  <c:v>0.76926607150504589</c:v>
                </c:pt>
                <c:pt idx="15">
                  <c:v>0.81715158102103436</c:v>
                </c:pt>
                <c:pt idx="16">
                  <c:v>0.86503709053702282</c:v>
                </c:pt>
                <c:pt idx="17">
                  <c:v>0.91292260005301129</c:v>
                </c:pt>
                <c:pt idx="18">
                  <c:v>0.93469195003975847</c:v>
                </c:pt>
                <c:pt idx="19">
                  <c:v>0.95646130002650565</c:v>
                </c:pt>
                <c:pt idx="20">
                  <c:v>0.97823065001325282</c:v>
                </c:pt>
                <c:pt idx="2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5763407"/>
        <c:axId val="825762927"/>
      </c:lineChart>
      <c:catAx>
        <c:axId val="82576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0527"/>
        <c:crosses val="autoZero"/>
        <c:auto val="1"/>
        <c:lblAlgn val="ctr"/>
        <c:lblOffset val="100"/>
        <c:noMultiLvlLbl val="0"/>
      </c:catAx>
      <c:valAx>
        <c:axId val="825760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5327"/>
        <c:crosses val="autoZero"/>
        <c:crossBetween val="between"/>
      </c:valAx>
      <c:valAx>
        <c:axId val="825762927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3407"/>
        <c:crosses val="max"/>
        <c:crossBetween val="between"/>
      </c:valAx>
      <c:catAx>
        <c:axId val="825763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257629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1006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S Distribution'!$B$9:$B$13</c:f>
              <c:strCache>
                <c:ptCount val="5"/>
                <c:pt idx="0">
                  <c:v>LOS 3</c:v>
                </c:pt>
                <c:pt idx="1">
                  <c:v>LOS 2</c:v>
                </c:pt>
                <c:pt idx="2">
                  <c:v>LOS 4</c:v>
                </c:pt>
                <c:pt idx="3">
                  <c:v>LOS 5</c:v>
                </c:pt>
                <c:pt idx="4">
                  <c:v>LOS 1</c:v>
                </c:pt>
              </c:strCache>
            </c:strRef>
          </c:cat>
          <c:val>
            <c:numRef>
              <c:f>'LOS Distribution'!$C$9:$C$13</c:f>
              <c:numCache>
                <c:formatCode>0%</c:formatCode>
                <c:ptCount val="5"/>
                <c:pt idx="0">
                  <c:v>0.48114692989356833</c:v>
                </c:pt>
                <c:pt idx="1">
                  <c:v>0.31860750516182595</c:v>
                </c:pt>
                <c:pt idx="2">
                  <c:v>0.17464944363624921</c:v>
                </c:pt>
                <c:pt idx="3">
                  <c:v>2.5596121308356468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A-4F1C-BDD0-3EDD083984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95599599"/>
        <c:axId val="1995601999"/>
      </c:barChart>
      <c:catAx>
        <c:axId val="1995599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95601999"/>
        <c:crosses val="autoZero"/>
        <c:auto val="1"/>
        <c:lblAlgn val="ctr"/>
        <c:lblOffset val="100"/>
        <c:noMultiLvlLbl val="0"/>
      </c:catAx>
      <c:valAx>
        <c:axId val="199560199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95599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Proc Family Dis'!$B$25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B$26:$B$3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456F-4D12-BEDA-69D1C805128C}"/>
            </c:ext>
          </c:extLst>
        </c:ser>
        <c:ser>
          <c:idx val="1"/>
          <c:order val="1"/>
          <c:tx>
            <c:strRef>
              <c:f>'Proc Family Dis'!$C$25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C$26:$C$32</c:f>
              <c:numCache>
                <c:formatCode>0%</c:formatCode>
                <c:ptCount val="7"/>
                <c:pt idx="1">
                  <c:v>0.74978067843470864</c:v>
                </c:pt>
                <c:pt idx="2">
                  <c:v>0.46786939068481498</c:v>
                </c:pt>
                <c:pt idx="3">
                  <c:v>0.14771988596656646</c:v>
                </c:pt>
                <c:pt idx="4">
                  <c:v>0.93675672052021186</c:v>
                </c:pt>
                <c:pt idx="6">
                  <c:v>0.88491599319438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6F-4D12-BEDA-69D1C805128C}"/>
            </c:ext>
          </c:extLst>
        </c:ser>
        <c:ser>
          <c:idx val="2"/>
          <c:order val="2"/>
          <c:tx>
            <c:strRef>
              <c:f>'Proc Family Dis'!$D$25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D$26:$D$32</c:f>
              <c:numCache>
                <c:formatCode>General</c:formatCode>
                <c:ptCount val="7"/>
                <c:pt idx="0" formatCode="0%">
                  <c:v>0.9503355555802061</c:v>
                </c:pt>
                <c:pt idx="2" formatCode="0%">
                  <c:v>0.28457970012760525</c:v>
                </c:pt>
                <c:pt idx="3" formatCode="0%">
                  <c:v>0.48994886243885122</c:v>
                </c:pt>
                <c:pt idx="4" formatCode="0%">
                  <c:v>6.3243279479788167E-2</c:v>
                </c:pt>
                <c:pt idx="5" formatCode="0%">
                  <c:v>0.56055933645257339</c:v>
                </c:pt>
                <c:pt idx="6" formatCode="0%">
                  <c:v>0.11508400680561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6F-4D12-BEDA-69D1C805128C}"/>
            </c:ext>
          </c:extLst>
        </c:ser>
        <c:ser>
          <c:idx val="3"/>
          <c:order val="3"/>
          <c:tx>
            <c:strRef>
              <c:f>'Proc Family Dis'!$E$25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0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E$26:$E$32</c:f>
              <c:numCache>
                <c:formatCode>0%</c:formatCode>
                <c:ptCount val="7"/>
                <c:pt idx="0">
                  <c:v>4.9358284617688493E-2</c:v>
                </c:pt>
                <c:pt idx="1">
                  <c:v>0.25021932156529136</c:v>
                </c:pt>
                <c:pt idx="2">
                  <c:v>0.20859474691620586</c:v>
                </c:pt>
                <c:pt idx="3">
                  <c:v>0.30625741827419051</c:v>
                </c:pt>
                <c:pt idx="5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56F-4D12-BEDA-69D1C805128C}"/>
            </c:ext>
          </c:extLst>
        </c:ser>
        <c:ser>
          <c:idx val="4"/>
          <c:order val="4"/>
          <c:tx>
            <c:strRef>
              <c:f>'Proc Family Dis'!$F$25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F$26:$F$32</c:f>
              <c:numCache>
                <c:formatCode>General</c:formatCode>
                <c:ptCount val="7"/>
                <c:pt idx="2" formatCode="0%">
                  <c:v>3.8956162271373884E-2</c:v>
                </c:pt>
                <c:pt idx="3" formatCode="0%">
                  <c:v>5.6073833320391793E-2</c:v>
                </c:pt>
                <c:pt idx="5" formatCode="0%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6F-4D12-BEDA-69D1C80512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4941711"/>
        <c:axId val="544942191"/>
      </c:barChart>
      <c:catAx>
        <c:axId val="54494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2191"/>
        <c:crosses val="autoZero"/>
        <c:auto val="1"/>
        <c:lblAlgn val="ctr"/>
        <c:lblOffset val="100"/>
        <c:noMultiLvlLbl val="0"/>
      </c:catAx>
      <c:valAx>
        <c:axId val="54494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Proc Family Dis'!$B$25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B$26:$B$3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456F-4D12-BEDA-69D1C805128C}"/>
            </c:ext>
          </c:extLst>
        </c:ser>
        <c:ser>
          <c:idx val="1"/>
          <c:order val="1"/>
          <c:tx>
            <c:strRef>
              <c:f>'Proc Family Dis'!$C$25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C$26:$C$32</c:f>
              <c:numCache>
                <c:formatCode>0%</c:formatCode>
                <c:ptCount val="7"/>
                <c:pt idx="1">
                  <c:v>0.74978067843470864</c:v>
                </c:pt>
                <c:pt idx="2">
                  <c:v>0.46786939068481498</c:v>
                </c:pt>
                <c:pt idx="3">
                  <c:v>0.14771988596656646</c:v>
                </c:pt>
                <c:pt idx="4">
                  <c:v>0.93675672052021186</c:v>
                </c:pt>
                <c:pt idx="6">
                  <c:v>0.88491599319438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6F-4D12-BEDA-69D1C805128C}"/>
            </c:ext>
          </c:extLst>
        </c:ser>
        <c:ser>
          <c:idx val="2"/>
          <c:order val="2"/>
          <c:tx>
            <c:strRef>
              <c:f>'Proc Family Dis'!$D$25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D$26:$D$32</c:f>
              <c:numCache>
                <c:formatCode>General</c:formatCode>
                <c:ptCount val="7"/>
                <c:pt idx="0" formatCode="0%">
                  <c:v>0.9503355555802061</c:v>
                </c:pt>
                <c:pt idx="2" formatCode="0%">
                  <c:v>0.28457970012760525</c:v>
                </c:pt>
                <c:pt idx="3" formatCode="0%">
                  <c:v>0.48994886243885122</c:v>
                </c:pt>
                <c:pt idx="4" formatCode="0%">
                  <c:v>6.3243279479788167E-2</c:v>
                </c:pt>
                <c:pt idx="5" formatCode="0%">
                  <c:v>0.56055933645257339</c:v>
                </c:pt>
                <c:pt idx="6" formatCode="0%">
                  <c:v>0.11508400680561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6F-4D12-BEDA-69D1C805128C}"/>
            </c:ext>
          </c:extLst>
        </c:ser>
        <c:ser>
          <c:idx val="3"/>
          <c:order val="3"/>
          <c:tx>
            <c:strRef>
              <c:f>'Proc Family Dis'!$E$25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0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E$26:$E$32</c:f>
              <c:numCache>
                <c:formatCode>0%</c:formatCode>
                <c:ptCount val="7"/>
                <c:pt idx="0">
                  <c:v>4.9358284617688493E-2</c:v>
                </c:pt>
                <c:pt idx="1">
                  <c:v>0.25021932156529136</c:v>
                </c:pt>
                <c:pt idx="2">
                  <c:v>0.20859474691620586</c:v>
                </c:pt>
                <c:pt idx="3">
                  <c:v>0.30625741827419051</c:v>
                </c:pt>
                <c:pt idx="5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56F-4D12-BEDA-69D1C805128C}"/>
            </c:ext>
          </c:extLst>
        </c:ser>
        <c:ser>
          <c:idx val="4"/>
          <c:order val="4"/>
          <c:tx>
            <c:strRef>
              <c:f>'Proc Family Dis'!$F$25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F$26:$F$32</c:f>
              <c:numCache>
                <c:formatCode>General</c:formatCode>
                <c:ptCount val="7"/>
                <c:pt idx="2" formatCode="0%">
                  <c:v>3.8956162271373884E-2</c:v>
                </c:pt>
                <c:pt idx="3" formatCode="0%">
                  <c:v>5.6073833320391793E-2</c:v>
                </c:pt>
                <c:pt idx="5" formatCode="0%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6F-4D12-BEDA-69D1C80512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4941711"/>
        <c:axId val="544942191"/>
      </c:barChart>
      <c:catAx>
        <c:axId val="54494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2191"/>
        <c:crosses val="autoZero"/>
        <c:auto val="1"/>
        <c:lblAlgn val="ctr"/>
        <c:lblOffset val="100"/>
        <c:noMultiLvlLbl val="0"/>
      </c:catAx>
      <c:valAx>
        <c:axId val="54494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OP Example!PivotTable1</c:name>
    <c:fmtId val="7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OP Example'!$P$4</c:f>
              <c:strCache>
                <c:ptCount val="1"/>
                <c:pt idx="0">
                  <c:v>LOS 1 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P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AE-4510-A3FF-46ED01023FE5}"/>
            </c:ext>
          </c:extLst>
        </c:ser>
        <c:ser>
          <c:idx val="1"/>
          <c:order val="1"/>
          <c:tx>
            <c:strRef>
              <c:f>'OP Example'!$Q$4</c:f>
              <c:strCache>
                <c:ptCount val="1"/>
                <c:pt idx="0">
                  <c:v>LOS 2 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Q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AE-4510-A3FF-46ED01023FE5}"/>
            </c:ext>
          </c:extLst>
        </c:ser>
        <c:ser>
          <c:idx val="2"/>
          <c:order val="2"/>
          <c:tx>
            <c:strRef>
              <c:f>'OP Example'!$R$4</c:f>
              <c:strCache>
                <c:ptCount val="1"/>
                <c:pt idx="0">
                  <c:v>LOS 3 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R$5</c:f>
              <c:numCache>
                <c:formatCode>0%</c:formatCode>
                <c:ptCount val="1"/>
                <c:pt idx="0">
                  <c:v>0.56055933645257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AE-4510-A3FF-46ED01023FE5}"/>
            </c:ext>
          </c:extLst>
        </c:ser>
        <c:ser>
          <c:idx val="3"/>
          <c:order val="3"/>
          <c:tx>
            <c:strRef>
              <c:f>'OP Example'!$S$4</c:f>
              <c:strCache>
                <c:ptCount val="1"/>
                <c:pt idx="0">
                  <c:v>LOS 4 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S$5</c:f>
              <c:numCache>
                <c:formatCode>0%</c:formatCode>
                <c:ptCount val="1"/>
                <c:pt idx="0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AE-4510-A3FF-46ED01023FE5}"/>
            </c:ext>
          </c:extLst>
        </c:ser>
        <c:ser>
          <c:idx val="4"/>
          <c:order val="4"/>
          <c:tx>
            <c:strRef>
              <c:f>'OP Example'!$T$4</c:f>
              <c:strCache>
                <c:ptCount val="1"/>
                <c:pt idx="0">
                  <c:v>LOS 5 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T$5</c:f>
              <c:numCache>
                <c:formatCode>0%</c:formatCode>
                <c:ptCount val="1"/>
                <c:pt idx="0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AE-4510-A3FF-46ED01023FE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7889008"/>
        <c:axId val="127885648"/>
      </c:barChart>
      <c:catAx>
        <c:axId val="127889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7885648"/>
        <c:crosses val="autoZero"/>
        <c:auto val="1"/>
        <c:lblAlgn val="ctr"/>
        <c:lblOffset val="100"/>
        <c:noMultiLvlLbl val="0"/>
      </c:catAx>
      <c:valAx>
        <c:axId val="127885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27889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677553984978658"/>
          <c:y val="0.35561205451728173"/>
          <c:w val="0.17093683331592316"/>
          <c:h val="0.338857793378237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Portfolio Readiness!PivotTable4</c:name>
    <c:fmtId val="4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3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7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11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doughnutChart>
        <c:varyColors val="1"/>
        <c:ser>
          <c:idx val="0"/>
          <c:order val="0"/>
          <c:tx>
            <c:strRef>
              <c:f>'Portfolio Readiness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C38-407E-8BA8-0A4E921CE453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C38-407E-8BA8-0A4E921CE453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C38-407E-8BA8-0A4E921CE453}"/>
              </c:ext>
            </c:extLst>
          </c:dPt>
          <c:dLbls>
            <c:dLbl>
              <c:idx val="0"/>
              <c:layout>
                <c:manualLayout>
                  <c:x val="0.23290860974985111"/>
                  <c:y val="-7.555555555555555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38-407E-8BA8-0A4E921CE453}"/>
                </c:ext>
              </c:extLst>
            </c:dLbl>
            <c:dLbl>
              <c:idx val="1"/>
              <c:layout>
                <c:manualLayout>
                  <c:x val="-0.25385774087547164"/>
                  <c:y val="6.22225721784775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641325005399363"/>
                      <c:h val="8.8822397200349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C38-407E-8BA8-0A4E921CE453}"/>
                </c:ext>
              </c:extLst>
            </c:dLbl>
            <c:dLbl>
              <c:idx val="2"/>
              <c:layout>
                <c:manualLayout>
                  <c:x val="-0.10833333333333338"/>
                  <c:y val="-6.666666666666666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C38-407E-8BA8-0A4E921CE4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ortfolio Readiness'!$A$4:$A$7</c:f>
              <c:strCache>
                <c:ptCount val="3"/>
                <c:pt idx="0">
                  <c:v>Amber</c:v>
                </c:pt>
                <c:pt idx="1">
                  <c:v>Green</c:v>
                </c:pt>
                <c:pt idx="2">
                  <c:v>Red</c:v>
                </c:pt>
              </c:strCache>
            </c:strRef>
          </c:cat>
          <c:val>
            <c:numRef>
              <c:f>'Portfolio Readiness'!$B$4:$B$7</c:f>
              <c:numCache>
                <c:formatCode>0.00%</c:formatCode>
                <c:ptCount val="3"/>
                <c:pt idx="0">
                  <c:v>9.3185374875515717E-2</c:v>
                </c:pt>
                <c:pt idx="1">
                  <c:v>0.8812301417935221</c:v>
                </c:pt>
                <c:pt idx="2">
                  <c:v>2.55844833309622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E6F-401B-9396-9C6DD9A756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L$4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K$5:$K$9</c:f>
              <c:strCache>
                <c:ptCount val="5"/>
                <c:pt idx="0">
                  <c:v>IPFUV</c:v>
                </c:pt>
                <c:pt idx="1">
                  <c:v>OBSFU</c:v>
                </c:pt>
                <c:pt idx="2">
                  <c:v>ESTAV</c:v>
                </c:pt>
                <c:pt idx="3">
                  <c:v>ESTOV</c:v>
                </c:pt>
                <c:pt idx="4">
                  <c:v>ESTNR</c:v>
                </c:pt>
              </c:strCache>
            </c:strRef>
          </c:cat>
          <c:val>
            <c:numRef>
              <c:f>'Portfolio Readiness(Top)'!$L$5:$L$9</c:f>
              <c:numCache>
                <c:formatCode>General</c:formatCode>
                <c:ptCount val="5"/>
                <c:pt idx="0">
                  <c:v>1853</c:v>
                </c:pt>
                <c:pt idx="1">
                  <c:v>1850</c:v>
                </c:pt>
                <c:pt idx="2">
                  <c:v>1819</c:v>
                </c:pt>
                <c:pt idx="3">
                  <c:v>1819</c:v>
                </c:pt>
                <c:pt idx="4">
                  <c:v>1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8-4E8B-9C08-ABFFE87B4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397040"/>
        <c:axId val="95959296"/>
      </c:barChart>
      <c:catAx>
        <c:axId val="56397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95959296"/>
        <c:crosses val="autoZero"/>
        <c:auto val="1"/>
        <c:lblAlgn val="ctr"/>
        <c:lblOffset val="100"/>
        <c:noMultiLvlLbl val="0"/>
      </c:catAx>
      <c:valAx>
        <c:axId val="959592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397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J$4</c:f>
              <c:strCache>
                <c:ptCount val="1"/>
                <c:pt idx="0">
                  <c:v>Amb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I$5:$I$9</c:f>
              <c:strCache>
                <c:ptCount val="5"/>
                <c:pt idx="0">
                  <c:v>IPCON</c:v>
                </c:pt>
                <c:pt idx="1">
                  <c:v>OVCON</c:v>
                </c:pt>
                <c:pt idx="2">
                  <c:v>IPERV</c:v>
                </c:pt>
                <c:pt idx="3">
                  <c:v>NEWOV</c:v>
                </c:pt>
                <c:pt idx="4">
                  <c:v>NEWHH</c:v>
                </c:pt>
              </c:strCache>
            </c:strRef>
          </c:cat>
          <c:val>
            <c:numRef>
              <c:f>'Portfolio Readiness(Top)'!$J$5:$J$9</c:f>
              <c:numCache>
                <c:formatCode>General</c:formatCode>
                <c:ptCount val="5"/>
                <c:pt idx="0">
                  <c:v>300</c:v>
                </c:pt>
                <c:pt idx="1">
                  <c:v>289</c:v>
                </c:pt>
                <c:pt idx="2">
                  <c:v>281</c:v>
                </c:pt>
                <c:pt idx="3">
                  <c:v>279</c:v>
                </c:pt>
                <c:pt idx="4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F1-4A9B-81D8-EE20FEBE6E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093696"/>
        <c:axId val="1577093216"/>
      </c:barChart>
      <c:catAx>
        <c:axId val="157709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77093216"/>
        <c:crosses val="autoZero"/>
        <c:auto val="1"/>
        <c:lblAlgn val="ctr"/>
        <c:lblOffset val="100"/>
        <c:noMultiLvlLbl val="0"/>
      </c:catAx>
      <c:valAx>
        <c:axId val="15770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7093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N$4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M$5:$M$9</c:f>
              <c:strCache>
                <c:ptCount val="5"/>
                <c:pt idx="0">
                  <c:v>IPCON</c:v>
                </c:pt>
                <c:pt idx="1">
                  <c:v>IPERV</c:v>
                </c:pt>
                <c:pt idx="2">
                  <c:v>NEWDC</c:v>
                </c:pt>
                <c:pt idx="3">
                  <c:v>NEWHH</c:v>
                </c:pt>
                <c:pt idx="4">
                  <c:v>NEWOV</c:v>
                </c:pt>
              </c:strCache>
            </c:strRef>
          </c:cat>
          <c:val>
            <c:numRef>
              <c:f>'Portfolio Readiness(Top)'!$N$5:$N$9</c:f>
              <c:numCache>
                <c:formatCode>General</c:formatCode>
                <c:ptCount val="5"/>
                <c:pt idx="0">
                  <c:v>115</c:v>
                </c:pt>
                <c:pt idx="1">
                  <c:v>115</c:v>
                </c:pt>
                <c:pt idx="2">
                  <c:v>101</c:v>
                </c:pt>
                <c:pt idx="3">
                  <c:v>97</c:v>
                </c:pt>
                <c:pt idx="4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75-47A2-8B56-3675814D3CF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21050096"/>
        <c:axId val="1721051056"/>
      </c:barChart>
      <c:catAx>
        <c:axId val="17210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721051056"/>
        <c:crosses val="autoZero"/>
        <c:auto val="1"/>
        <c:lblAlgn val="ctr"/>
        <c:lblOffset val="100"/>
        <c:noMultiLvlLbl val="0"/>
      </c:catAx>
      <c:valAx>
        <c:axId val="17210510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21050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Proc Gp Dis!PivotTable2</c:name>
    <c:fmtId val="9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Proc Gp Dis'!$B$3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B$4:$B$26</c:f>
              <c:numCache>
                <c:formatCode>General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C1-4310-B9BD-D7BA483EC84C}"/>
            </c:ext>
          </c:extLst>
        </c:ser>
        <c:ser>
          <c:idx val="1"/>
          <c:order val="1"/>
          <c:tx>
            <c:strRef>
              <c:f>'Proc Gp Dis'!$C$3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C$4:$C$26</c:f>
              <c:numCache>
                <c:formatCode>General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71062</c:v>
                </c:pt>
                <c:pt idx="7">
                  <c:v>41753</c:v>
                </c:pt>
                <c:pt idx="8">
                  <c:v>66574</c:v>
                </c:pt>
                <c:pt idx="9">
                  <c:v>0</c:v>
                </c:pt>
                <c:pt idx="10">
                  <c:v>0</c:v>
                </c:pt>
                <c:pt idx="11">
                  <c:v>7422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66584</c:v>
                </c:pt>
                <c:pt idx="17">
                  <c:v>0</c:v>
                </c:pt>
                <c:pt idx="18">
                  <c:v>73617</c:v>
                </c:pt>
                <c:pt idx="19">
                  <c:v>66119</c:v>
                </c:pt>
                <c:pt idx="20">
                  <c:v>0</c:v>
                </c:pt>
                <c:pt idx="21">
                  <c:v>66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C1-4310-B9BD-D7BA483EC84C}"/>
            </c:ext>
          </c:extLst>
        </c:ser>
        <c:ser>
          <c:idx val="2"/>
          <c:order val="2"/>
          <c:tx>
            <c:strRef>
              <c:f>'Proc Gp Dis'!$D$3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D$4:$D$26</c:f>
              <c:numCache>
                <c:formatCode>General</c:formatCode>
                <c:ptCount val="22"/>
                <c:pt idx="0">
                  <c:v>71478</c:v>
                </c:pt>
                <c:pt idx="1">
                  <c:v>71478</c:v>
                </c:pt>
                <c:pt idx="2">
                  <c:v>70969</c:v>
                </c:pt>
                <c:pt idx="3">
                  <c:v>71478</c:v>
                </c:pt>
                <c:pt idx="4">
                  <c:v>71478</c:v>
                </c:pt>
                <c:pt idx="5">
                  <c:v>71478</c:v>
                </c:pt>
                <c:pt idx="6">
                  <c:v>0</c:v>
                </c:pt>
                <c:pt idx="7">
                  <c:v>0</c:v>
                </c:pt>
                <c:pt idx="8">
                  <c:v>8658</c:v>
                </c:pt>
                <c:pt idx="9">
                  <c:v>37816</c:v>
                </c:pt>
                <c:pt idx="10">
                  <c:v>38153</c:v>
                </c:pt>
                <c:pt idx="11">
                  <c:v>1011</c:v>
                </c:pt>
                <c:pt idx="12">
                  <c:v>42483</c:v>
                </c:pt>
                <c:pt idx="13">
                  <c:v>42483</c:v>
                </c:pt>
                <c:pt idx="14">
                  <c:v>42262</c:v>
                </c:pt>
                <c:pt idx="15">
                  <c:v>42483</c:v>
                </c:pt>
                <c:pt idx="16">
                  <c:v>8648</c:v>
                </c:pt>
                <c:pt idx="17">
                  <c:v>42483</c:v>
                </c:pt>
                <c:pt idx="18">
                  <c:v>968</c:v>
                </c:pt>
                <c:pt idx="19">
                  <c:v>8466</c:v>
                </c:pt>
                <c:pt idx="20">
                  <c:v>42172</c:v>
                </c:pt>
                <c:pt idx="21">
                  <c:v>8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C1-4310-B9BD-D7BA483EC84C}"/>
            </c:ext>
          </c:extLst>
        </c:ser>
        <c:ser>
          <c:idx val="3"/>
          <c:order val="3"/>
          <c:tx>
            <c:strRef>
              <c:f>'Proc Gp Dis'!$E$3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E$4:$E$26</c:f>
              <c:numCache>
                <c:formatCode>General</c:formatCode>
                <c:ptCount val="22"/>
                <c:pt idx="0">
                  <c:v>3731</c:v>
                </c:pt>
                <c:pt idx="1">
                  <c:v>3731</c:v>
                </c:pt>
                <c:pt idx="2">
                  <c:v>3593</c:v>
                </c:pt>
                <c:pt idx="3">
                  <c:v>3731</c:v>
                </c:pt>
                <c:pt idx="4">
                  <c:v>3731</c:v>
                </c:pt>
                <c:pt idx="5">
                  <c:v>3731</c:v>
                </c:pt>
                <c:pt idx="6">
                  <c:v>4170</c:v>
                </c:pt>
                <c:pt idx="7">
                  <c:v>33479</c:v>
                </c:pt>
                <c:pt idx="8">
                  <c:v>0</c:v>
                </c:pt>
                <c:pt idx="9">
                  <c:v>31462</c:v>
                </c:pt>
                <c:pt idx="10">
                  <c:v>31310</c:v>
                </c:pt>
                <c:pt idx="11">
                  <c:v>0</c:v>
                </c:pt>
                <c:pt idx="12">
                  <c:v>27671</c:v>
                </c:pt>
                <c:pt idx="13">
                  <c:v>27671</c:v>
                </c:pt>
                <c:pt idx="14">
                  <c:v>27360</c:v>
                </c:pt>
                <c:pt idx="15">
                  <c:v>27671</c:v>
                </c:pt>
                <c:pt idx="16">
                  <c:v>0</c:v>
                </c:pt>
                <c:pt idx="17">
                  <c:v>27671</c:v>
                </c:pt>
                <c:pt idx="18">
                  <c:v>0</c:v>
                </c:pt>
                <c:pt idx="19">
                  <c:v>0</c:v>
                </c:pt>
                <c:pt idx="20">
                  <c:v>27898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C1-4310-B9BD-D7BA483EC84C}"/>
            </c:ext>
          </c:extLst>
        </c:ser>
        <c:ser>
          <c:idx val="4"/>
          <c:order val="4"/>
          <c:tx>
            <c:strRef>
              <c:f>'Proc Gp Dis'!$F$3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F$4:$F$26</c:f>
              <c:numCache>
                <c:formatCode>General</c:formatCode>
                <c:ptCount val="22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5954</c:v>
                </c:pt>
                <c:pt idx="10">
                  <c:v>5769</c:v>
                </c:pt>
                <c:pt idx="11">
                  <c:v>0</c:v>
                </c:pt>
                <c:pt idx="12">
                  <c:v>5078</c:v>
                </c:pt>
                <c:pt idx="13">
                  <c:v>5078</c:v>
                </c:pt>
                <c:pt idx="14">
                  <c:v>4963</c:v>
                </c:pt>
                <c:pt idx="15">
                  <c:v>5078</c:v>
                </c:pt>
                <c:pt idx="16">
                  <c:v>0</c:v>
                </c:pt>
                <c:pt idx="17">
                  <c:v>5078</c:v>
                </c:pt>
                <c:pt idx="18">
                  <c:v>0</c:v>
                </c:pt>
                <c:pt idx="19">
                  <c:v>0</c:v>
                </c:pt>
                <c:pt idx="20">
                  <c:v>5162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C1-4310-B9BD-D7BA483EC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80552271"/>
        <c:axId val="470411263"/>
      </c:barChart>
      <c:catAx>
        <c:axId val="19805522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470411263"/>
        <c:crosses val="autoZero"/>
        <c:auto val="1"/>
        <c:lblAlgn val="ctr"/>
        <c:lblOffset val="100"/>
        <c:noMultiLvlLbl val="0"/>
      </c:catAx>
      <c:valAx>
        <c:axId val="4704112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80552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9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hareHigh!PivotTable6</c:name>
    <c:fmtId val="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200" b="1">
                <a:latin typeface="Aptos" panose="020B0004020202020204" pitchFamily="34" charset="0"/>
              </a:rPr>
              <a:t>Top</a:t>
            </a:r>
            <a:r>
              <a:rPr lang="en-IN" sz="1200" b="1" baseline="0">
                <a:latin typeface="Aptos" panose="020B0004020202020204" pitchFamily="34" charset="0"/>
              </a:rPr>
              <a:t> Recoding Opportunities</a:t>
            </a:r>
            <a:endParaRPr lang="en-IN" sz="1200" b="1">
              <a:latin typeface="Aptos" panose="020B00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IN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areHigh!$B$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areHigh!$A$5:$A$15</c:f>
              <c:strCache>
                <c:ptCount val="10"/>
                <c:pt idx="0">
                  <c:v>EYEES</c:v>
                </c:pt>
                <c:pt idx="1">
                  <c:v>EYENW</c:v>
                </c:pt>
                <c:pt idx="2">
                  <c:v>NEWOV</c:v>
                </c:pt>
                <c:pt idx="3">
                  <c:v>OVCON</c:v>
                </c:pt>
                <c:pt idx="4">
                  <c:v>NEWHH</c:v>
                </c:pt>
                <c:pt idx="5">
                  <c:v>NEWDC</c:v>
                </c:pt>
                <c:pt idx="6">
                  <c:v>NEWAO</c:v>
                </c:pt>
                <c:pt idx="7">
                  <c:v>NEWAV</c:v>
                </c:pt>
                <c:pt idx="8">
                  <c:v>IPERV</c:v>
                </c:pt>
                <c:pt idx="9">
                  <c:v>IPCON</c:v>
                </c:pt>
              </c:strCache>
            </c:strRef>
          </c:cat>
          <c:val>
            <c:numRef>
              <c:f>ShareHigh!$B$5:$B$15</c:f>
              <c:numCache>
                <c:formatCode>0.00%</c:formatCode>
                <c:ptCount val="10"/>
                <c:pt idx="0">
                  <c:v>6.3676341248900615E-3</c:v>
                </c:pt>
                <c:pt idx="1">
                  <c:v>0.13620172478440196</c:v>
                </c:pt>
                <c:pt idx="2">
                  <c:v>0.20883178389756182</c:v>
                </c:pt>
                <c:pt idx="3">
                  <c:v>0.21173176462274984</c:v>
                </c:pt>
                <c:pt idx="4">
                  <c:v>0.21878460235784536</c:v>
                </c:pt>
                <c:pt idx="5">
                  <c:v>0.21898444434063624</c:v>
                </c:pt>
                <c:pt idx="6">
                  <c:v>0.22852139005864064</c:v>
                </c:pt>
                <c:pt idx="7">
                  <c:v>0.22852139005864064</c:v>
                </c:pt>
                <c:pt idx="8">
                  <c:v>0.26255216045228158</c:v>
                </c:pt>
                <c:pt idx="9">
                  <c:v>0.2666388624856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DB-44E4-9B4C-7C6C4AF9EB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949977551"/>
        <c:axId val="1949978031"/>
      </c:barChart>
      <c:catAx>
        <c:axId val="19499775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49978031"/>
        <c:crosses val="autoZero"/>
        <c:auto val="1"/>
        <c:lblAlgn val="ctr"/>
        <c:lblOffset val="100"/>
        <c:noMultiLvlLbl val="0"/>
      </c:catAx>
      <c:valAx>
        <c:axId val="1949978031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49977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11/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11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42C3B-1B3D-2F99-BBF0-7A9B88BAD2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2B7516-88BC-2CB6-6239-2B8C41CBEF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151672-E7DB-EA10-977C-BDF02A53A3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1D3F35-6FD9-D577-854D-A777340B24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52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Bars show combos where </a:t>
            </a:r>
            <a:r>
              <a:rPr lang="en-US" b="1"/>
              <a:t>4/5 is billed often</a:t>
            </a:r>
            <a:r>
              <a:rPr lang="en-US"/>
              <a:t>, but the </a:t>
            </a:r>
            <a:r>
              <a:rPr lang="en-US" b="1"/>
              <a:t>typical level is 2 or 3 - </a:t>
            </a:r>
            <a:r>
              <a:rPr lang="en-US"/>
              <a:t>our </a:t>
            </a:r>
            <a:r>
              <a:rPr lang="en-US" b="1"/>
              <a:t>best near-term savings</a:t>
            </a:r>
            <a:r>
              <a:rPr lang="en-US"/>
              <a:t>.”</a:t>
            </a:r>
          </a:p>
          <a:p>
            <a:r>
              <a:rPr lang="en-US"/>
              <a:t>“Use the </a:t>
            </a:r>
            <a:r>
              <a:rPr lang="en-US" b="1"/>
              <a:t>longest bars first</a:t>
            </a:r>
            <a:r>
              <a:rPr lang="en-US"/>
              <a:t>: big potential and enough volume to act confidently.”</a:t>
            </a:r>
          </a:p>
          <a:p>
            <a:r>
              <a:rPr lang="en-US"/>
              <a:t>“Note: a bar like </a:t>
            </a:r>
            <a:r>
              <a:rPr lang="en-US" b="1"/>
              <a:t>26.66%</a:t>
            </a:r>
            <a:r>
              <a:rPr lang="en-US"/>
              <a:t> is the </a:t>
            </a:r>
            <a:r>
              <a:rPr lang="en-US" b="1"/>
              <a:t>review pool</a:t>
            </a:r>
            <a:r>
              <a:rPr lang="en-US"/>
              <a:t>, not a guaranteed recode rate, actual impact depends on documentation and our </a:t>
            </a:r>
            <a:r>
              <a:rPr lang="en-US" b="1"/>
              <a:t>HAL safety check</a:t>
            </a:r>
            <a:r>
              <a:rPr lang="en-US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32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5697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This shows </a:t>
            </a:r>
            <a:r>
              <a:rPr lang="en-US" b="1"/>
              <a:t>which levels actually occur</a:t>
            </a:r>
            <a:r>
              <a:rPr lang="en-US"/>
              <a:t> in each family.”</a:t>
            </a:r>
          </a:p>
          <a:p>
            <a:r>
              <a:rPr lang="en-US"/>
              <a:t>“</a:t>
            </a:r>
            <a:r>
              <a:rPr lang="en-US" b="1"/>
              <a:t>Observation and Established</a:t>
            </a:r>
            <a:r>
              <a:rPr lang="en-US"/>
              <a:t> are concentrated → </a:t>
            </a:r>
            <a:r>
              <a:rPr lang="en-US" b="1"/>
              <a:t>tight feasible sets</a:t>
            </a:r>
            <a:r>
              <a:rPr lang="en-US"/>
              <a:t>; turn off unused levels.”</a:t>
            </a:r>
          </a:p>
          <a:p>
            <a:r>
              <a:rPr lang="en-US"/>
              <a:t>“</a:t>
            </a:r>
            <a:r>
              <a:rPr lang="en-US" b="1"/>
              <a:t>Outpatient / some Inpatient/New Patient</a:t>
            </a:r>
            <a:r>
              <a:rPr lang="en-US"/>
              <a:t> show meaningful </a:t>
            </a:r>
            <a:r>
              <a:rPr lang="en-US" b="1"/>
              <a:t>4/5</a:t>
            </a:r>
            <a:r>
              <a:rPr lang="en-US"/>
              <a:t> → keep a </a:t>
            </a:r>
            <a:r>
              <a:rPr lang="en-US" b="1"/>
              <a:t>broader set</a:t>
            </a:r>
            <a:r>
              <a:rPr lang="en-US"/>
              <a:t> but add </a:t>
            </a:r>
            <a:r>
              <a:rPr lang="en-US" b="1"/>
              <a:t>documentation guardrails</a:t>
            </a:r>
            <a:r>
              <a:rPr lang="en-US"/>
              <a:t>.”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361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reshaped raw files into an analysis-ready format, </a:t>
            </a:r>
            <a:r>
              <a:rPr lang="en-US" b="1"/>
              <a:t>wide to long- </a:t>
            </a:r>
            <a:r>
              <a:rPr lang="en-US"/>
              <a:t>so each diagnosis × procedure shows up cleanly.”</a:t>
            </a:r>
          </a:p>
          <a:p>
            <a:r>
              <a:rPr lang="en-US"/>
              <a:t>“This gives us </a:t>
            </a:r>
            <a:r>
              <a:rPr lang="en-US" b="1"/>
              <a:t>apples-to-apples comparisons</a:t>
            </a:r>
            <a:r>
              <a:rPr lang="en-US"/>
              <a:t> and reliable KPIs across the portfoli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2515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cleaned text, standardized codes, and built a simple </a:t>
            </a:r>
            <a:r>
              <a:rPr lang="en-US" b="1"/>
              <a:t>‘ICD family’</a:t>
            </a:r>
            <a:r>
              <a:rPr lang="en-US"/>
              <a:t> using the part </a:t>
            </a:r>
            <a:r>
              <a:rPr lang="en-US" b="1"/>
              <a:t>before the decimal</a:t>
            </a:r>
            <a:r>
              <a:rPr lang="en-US"/>
              <a:t>.”</a:t>
            </a:r>
          </a:p>
          <a:p>
            <a:r>
              <a:rPr lang="en-US"/>
              <a:t>“We converted levels to numbers and </a:t>
            </a:r>
            <a:r>
              <a:rPr lang="en-US" b="1"/>
              <a:t>kept blanks</a:t>
            </a:r>
            <a:r>
              <a:rPr lang="en-US"/>
              <a:t> so we can measure data quality.”</a:t>
            </a:r>
          </a:p>
          <a:p>
            <a:r>
              <a:rPr lang="en-US"/>
              <a:t>“Net: a </a:t>
            </a:r>
            <a:r>
              <a:rPr lang="en-US" b="1"/>
              <a:t>defensible baseline, </a:t>
            </a:r>
            <a:r>
              <a:rPr lang="en-US"/>
              <a:t>consistent inputs, consistent decision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59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28752-6D76-F190-3279-7CE1F45D4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05F1C-1A35-B82C-E86E-D1CD891DFF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A92084-1588-8C3A-7B81-6A42B31832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B65D1-0491-A6AD-78D8-491D6595B9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599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28752-6D76-F190-3279-7CE1F45D4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05F1C-1A35-B82C-E86E-D1CD891DFF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A92084-1588-8C3A-7B81-6A42B31832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B65D1-0491-A6AD-78D8-491D6595B9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599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08E06-79CD-B840-2309-E1F8C7A55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E82157-3868-AC5A-01E4-A088170F76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88C178-6A16-36A0-E82B-268B1BF13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108C4-3F8B-93F2-F676-C61C95C8C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3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3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D902D-FC6F-2136-2C2F-AC10D481F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D805B7-F8B6-5FB3-0253-0582F35BB8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2530FC-1EA4-78ED-FB56-61718DFC56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CB51D8-672A-3359-E824-5FEE020789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5612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930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08E06-79CD-B840-2309-E1F8C7A55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E82157-3868-AC5A-01E4-A088170F76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88C178-6A16-36A0-E82B-268B1BF13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108C4-3F8B-93F2-F676-C61C95C8C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3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reshaped raw files into an analysis-ready format, </a:t>
            </a:r>
            <a:r>
              <a:rPr lang="en-US" b="1"/>
              <a:t>wide to long- </a:t>
            </a:r>
            <a:r>
              <a:rPr lang="en-US"/>
              <a:t>so each diagnosis × procedure shows up cleanly.”</a:t>
            </a:r>
          </a:p>
          <a:p>
            <a:r>
              <a:rPr lang="en-US"/>
              <a:t>“This gives us </a:t>
            </a:r>
            <a:r>
              <a:rPr lang="en-US" b="1"/>
              <a:t>apples-to-apples comparisons</a:t>
            </a:r>
            <a:r>
              <a:rPr lang="en-US"/>
              <a:t> and reliable KPIs across the portfolio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143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06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High-Dollar Hotspots (Share of 4/5 by Diagnosis × Procedure)</a:t>
            </a:r>
          </a:p>
          <a:p>
            <a:r>
              <a:rPr lang="en-US"/>
              <a:t>“Heatmap highlights </a:t>
            </a:r>
            <a:r>
              <a:rPr lang="en-US" b="1"/>
              <a:t>where high levels cluster - </a:t>
            </a:r>
            <a:r>
              <a:rPr lang="en-US"/>
              <a:t>our </a:t>
            </a:r>
            <a:r>
              <a:rPr lang="en-US" b="1"/>
              <a:t>highest-impact targets</a:t>
            </a:r>
            <a:r>
              <a:rPr lang="en-US"/>
              <a:t>.”</a:t>
            </a:r>
          </a:p>
          <a:p>
            <a:r>
              <a:rPr lang="en-US"/>
              <a:t>“Start with the </a:t>
            </a:r>
            <a:r>
              <a:rPr lang="en-US" b="1"/>
              <a:t>dark clusters</a:t>
            </a:r>
            <a:r>
              <a:rPr lang="en-US"/>
              <a:t>: put in </a:t>
            </a:r>
            <a:r>
              <a:rPr lang="en-US" b="1"/>
              <a:t>guardrails/document checks</a:t>
            </a:r>
            <a:r>
              <a:rPr lang="en-US"/>
              <a:t>; then monitor for movement toward mid-levels.”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7399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01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3BB01A6-7C5D-A41D-5F0D-0C95A69AC0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74"/>
            <a:ext cx="12192000" cy="685345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9A25BA6-4A77-EFA3-4896-A4ECA95786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28238" y="672756"/>
            <a:ext cx="1620837" cy="487362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0442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64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040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0" y="0"/>
            <a:ext cx="12193467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2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8E6D68-4D79-9F98-7509-20DA25AB725A}"/>
              </a:ext>
            </a:extLst>
          </p:cNvPr>
          <p:cNvSpPr/>
          <p:nvPr userDrawn="1"/>
        </p:nvSpPr>
        <p:spPr>
          <a:xfrm>
            <a:off x="0" y="0"/>
            <a:ext cx="12192000" cy="1371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urple question mark in a circle&#10;&#10;Description automatically generated">
            <a:extLst>
              <a:ext uri="{FF2B5EF4-FFF2-40B4-BE49-F238E27FC236}">
                <a16:creationId xmlns:a16="http://schemas.microsoft.com/office/drawing/2014/main" id="{C5A8A0F2-6897-5156-AE8A-E3BD857A7D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8405" y="175470"/>
            <a:ext cx="960176" cy="96017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844703"/>
            <a:ext cx="11277600" cy="4332262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+mj-lt"/>
              <a:buAutoNum type="alphaLcPeriod"/>
              <a:tabLst/>
              <a:defRPr>
                <a:latin typeface="+mn-lt"/>
              </a:defRPr>
            </a:lvl1pPr>
            <a:lvl2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2pPr>
            <a:lvl3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3pPr>
            <a:lvl4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4pPr>
            <a:lvl5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3429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342900" marR="0" lvl="4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643394"/>
            <a:ext cx="9831788" cy="479829"/>
          </a:xfrm>
        </p:spPr>
        <p:txBody>
          <a:bodyPr anchor="t"/>
          <a:lstStyle/>
          <a:p>
            <a:r>
              <a:rPr lang="en-US" noProof="0"/>
              <a:t>Question goes her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8726" y="340921"/>
            <a:ext cx="9830458" cy="254861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Poll #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83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340115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756076"/>
            <a:ext cx="11273027" cy="340115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D0F3227-1B90-EB7B-C22A-CC853B1D1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1"/>
          </a:xfrm>
          <a:prstGeom prst="rect">
            <a:avLst/>
          </a:prstGeom>
        </p:spPr>
      </p:pic>
      <p:sp>
        <p:nvSpPr>
          <p:cNvPr id="7" name="Title 1" descr="Cover Slide Title Block">
            <a:extLst>
              <a:ext uri="{FF2B5EF4-FFF2-40B4-BE49-F238E27FC236}">
                <a16:creationId xmlns:a16="http://schemas.microsoft.com/office/drawing/2014/main" id="{143ABBE6-1ECC-E0B5-3449-9E6EDEDAAB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8" name="Subtitle 2" descr="Cover Slide Subtitle Block">
            <a:extLst>
              <a:ext uri="{FF2B5EF4-FFF2-40B4-BE49-F238E27FC236}">
                <a16:creationId xmlns:a16="http://schemas.microsoft.com/office/drawing/2014/main" id="{C3C57352-BAE4-80E3-F850-607C5E6E4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076D4415-7280-B200-5BDD-714C96DB26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98673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lines on a purple background&#10;&#10;Description automatically generated">
            <a:extLst>
              <a:ext uri="{FF2B5EF4-FFF2-40B4-BE49-F238E27FC236}">
                <a16:creationId xmlns:a16="http://schemas.microsoft.com/office/drawing/2014/main" id="{9C390B7A-2028-C706-F34F-02335345BD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sp>
        <p:nvSpPr>
          <p:cNvPr id="6" name="Title 1" descr="Quote Area Here">
            <a:extLst>
              <a:ext uri="{FF2B5EF4-FFF2-40B4-BE49-F238E27FC236}">
                <a16:creationId xmlns:a16="http://schemas.microsoft.com/office/drawing/2014/main" id="{3C06EAAB-280D-CE63-BCFF-854D579602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10" name="Text Placeholder 2" descr="Quote Attribution Area">
            <a:extLst>
              <a:ext uri="{FF2B5EF4-FFF2-40B4-BE49-F238E27FC236}">
                <a16:creationId xmlns:a16="http://schemas.microsoft.com/office/drawing/2014/main" id="{158E7F2F-9E6B-FAA7-0892-FBCA6EAFD2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FC0A75-9612-45DB-896D-BED63A9DA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C34AC2C2-3A0F-3511-1675-66F2C94741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0CD4C56A-7FA1-2F46-CE85-7D5B15786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A4E227D-96AE-BA31-6418-EC933EE1FF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686041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0A9EC8F-1598-E3DF-75CF-46108124E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7" cy="6857171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5F2FDA-77E8-4521-CEB7-4DA893504E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14"/>
            <a:ext cx="12192000" cy="685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98DF834-1537-1F54-A28F-EA9545DFF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5A90C7-2102-D000-11EA-2F7B7F49B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F5C4307-9759-EC59-FE07-27DF461E4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2E43E-A4C7-9D74-A7EC-D23FD81BF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C6B7B9-21BB-6DA8-FD82-F5163FD66CE0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EEB9DC7-FF39-340B-7BE3-D015BA736010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1EC044-2FAE-AA81-536B-E520ACF3E290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76F120-C1C6-47EB-DE47-2D356BD7E424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7A61929-908B-BA67-0C23-EFF64AD617AE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9C3638D-8AC0-6487-6939-0B7BBA1510F7}"/>
              </a:ext>
            </a:extLst>
          </p:cNvPr>
          <p:cNvGrpSpPr/>
          <p:nvPr userDrawn="1"/>
        </p:nvGrpSpPr>
        <p:grpSpPr>
          <a:xfrm>
            <a:off x="1572981" y="1735627"/>
            <a:ext cx="1575487" cy="1506738"/>
            <a:chOff x="1572981" y="1562638"/>
            <a:chExt cx="1575487" cy="1506738"/>
          </a:xfrm>
        </p:grpSpPr>
        <p:grpSp>
          <p:nvGrpSpPr>
            <p:cNvPr id="4" name="Group 3" descr="Purple">
              <a:extLst>
                <a:ext uri="{FF2B5EF4-FFF2-40B4-BE49-F238E27FC236}">
                  <a16:creationId xmlns:a16="http://schemas.microsoft.com/office/drawing/2014/main" id="{3BCA94B1-3D12-1DD9-14BA-B00808B92B16}"/>
                </a:ext>
              </a:extLst>
            </p:cNvPr>
            <p:cNvGrpSpPr/>
            <p:nvPr userDrawn="1"/>
          </p:nvGrpSpPr>
          <p:grpSpPr>
            <a:xfrm>
              <a:off x="1572981" y="1562638"/>
              <a:ext cx="1575487" cy="1506738"/>
              <a:chOff x="244513" y="1467748"/>
              <a:chExt cx="1575487" cy="150673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5A48E67-3E59-5B2C-197E-0AA01EDE8140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A07F901-839A-6113-DA01-B87D18107372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271337" cy="15067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B3FD7E6-5C5F-07B0-CD4D-10368B46ADD6}"/>
                  </a:ext>
                </a:extLst>
              </p:cNvPr>
              <p:cNvSpPr/>
              <p:nvPr userDrawn="1"/>
            </p:nvSpPr>
            <p:spPr>
              <a:xfrm>
                <a:off x="5471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1"/>
                    </a:solidFill>
                  </a:rPr>
                  <a:t>R:  </a:t>
                </a:r>
                <a:r>
                  <a:rPr lang="en-US" sz="2000">
                    <a:solidFill>
                      <a:schemeClr val="accent1"/>
                    </a:solidFill>
                  </a:rPr>
                  <a:t>48</a:t>
                </a:r>
                <a:endParaRPr lang="en-US" sz="2000" b="1">
                  <a:solidFill>
                    <a:schemeClr val="accent1"/>
                  </a:solidFill>
                </a:endParaRP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G: </a:t>
                </a:r>
                <a:r>
                  <a:rPr lang="en-US" sz="2000">
                    <a:solidFill>
                      <a:schemeClr val="accent1"/>
                    </a:solidFill>
                  </a:rPr>
                  <a:t> 0</a:t>
                </a: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B:  </a:t>
                </a:r>
                <a:r>
                  <a:rPr lang="en-US" sz="2000">
                    <a:solidFill>
                      <a:schemeClr val="accent1"/>
                    </a:solidFill>
                  </a:rPr>
                  <a:t>111</a:t>
                </a:r>
                <a:endParaRPr lang="en-GB" sz="200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3A8B846-CA14-108A-8158-9FC9DBD5183C}"/>
                </a:ext>
              </a:extLst>
            </p:cNvPr>
            <p:cNvSpPr txBox="1"/>
            <p:nvPr userDrawn="1"/>
          </p:nvSpPr>
          <p:spPr>
            <a:xfrm>
              <a:off x="1936466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1"/>
                  </a:solidFill>
                </a:rPr>
                <a:t>HEX# 30006F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FEB95EE-0E83-5226-0EF8-700732641304}"/>
              </a:ext>
            </a:extLst>
          </p:cNvPr>
          <p:cNvGrpSpPr/>
          <p:nvPr userDrawn="1"/>
        </p:nvGrpSpPr>
        <p:grpSpPr>
          <a:xfrm>
            <a:off x="3243038" y="1735627"/>
            <a:ext cx="1575487" cy="1506738"/>
            <a:chOff x="3222996" y="1574087"/>
            <a:chExt cx="1575487" cy="1506738"/>
          </a:xfrm>
        </p:grpSpPr>
        <p:grpSp>
          <p:nvGrpSpPr>
            <p:cNvPr id="8" name="Group 7" descr="Lavendar">
              <a:extLst>
                <a:ext uri="{FF2B5EF4-FFF2-40B4-BE49-F238E27FC236}">
                  <a16:creationId xmlns:a16="http://schemas.microsoft.com/office/drawing/2014/main" id="{62AF1EA0-97E9-9439-53BE-CC4A1C2828E5}"/>
                </a:ext>
              </a:extLst>
            </p:cNvPr>
            <p:cNvGrpSpPr/>
            <p:nvPr userDrawn="1"/>
          </p:nvGrpSpPr>
          <p:grpSpPr>
            <a:xfrm>
              <a:off x="3222996" y="1574087"/>
              <a:ext cx="1575487" cy="1506738"/>
              <a:chOff x="2187613" y="1467748"/>
              <a:chExt cx="1575487" cy="1506738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A740847-EED2-4A73-68CF-05539592ED8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0C636634-1CD9-F563-3829-7519B5EE469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271337" cy="1506738"/>
              </a:xfrm>
              <a:prstGeom prst="rect">
                <a:avLst/>
              </a:prstGeom>
              <a:solidFill>
                <a:srgbClr val="9579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A1256A6-371E-E741-44E5-20EE37C29529}"/>
                  </a:ext>
                </a:extLst>
              </p:cNvPr>
              <p:cNvSpPr/>
              <p:nvPr userDrawn="1"/>
            </p:nvSpPr>
            <p:spPr>
              <a:xfrm>
                <a:off x="24902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2"/>
                    </a:solidFill>
                  </a:rPr>
                  <a:t>R: </a:t>
                </a:r>
                <a:r>
                  <a:rPr lang="en-US" sz="2000">
                    <a:solidFill>
                      <a:schemeClr val="accent2"/>
                    </a:solidFill>
                  </a:rPr>
                  <a:t>149</a:t>
                </a:r>
                <a:endParaRPr lang="en-US" sz="2000" b="1">
                  <a:solidFill>
                    <a:schemeClr val="accent2"/>
                  </a:solidFill>
                </a:endParaRP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G: </a:t>
                </a:r>
                <a:r>
                  <a:rPr lang="en-US" sz="2000">
                    <a:solidFill>
                      <a:schemeClr val="accent2"/>
                    </a:solidFill>
                  </a:rPr>
                  <a:t>121</a:t>
                </a: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B: </a:t>
                </a:r>
                <a:r>
                  <a:rPr lang="en-US" sz="2000">
                    <a:solidFill>
                      <a:schemeClr val="accent2"/>
                    </a:solidFill>
                  </a:rPr>
                  <a:t>211</a:t>
                </a:r>
                <a:endParaRPr lang="en-GB" sz="200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62D956-DD12-8B7A-118E-D19468728E91}"/>
                </a:ext>
              </a:extLst>
            </p:cNvPr>
            <p:cNvSpPr txBox="1"/>
            <p:nvPr userDrawn="1"/>
          </p:nvSpPr>
          <p:spPr>
            <a:xfrm>
              <a:off x="359514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2"/>
                  </a:solidFill>
                </a:rPr>
                <a:t>HEX# 9579D3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DD54BF3-0BA7-E159-CB9E-D7E1C38B44AD}"/>
              </a:ext>
            </a:extLst>
          </p:cNvPr>
          <p:cNvGrpSpPr/>
          <p:nvPr userDrawn="1"/>
        </p:nvGrpSpPr>
        <p:grpSpPr>
          <a:xfrm>
            <a:off x="4913095" y="1735627"/>
            <a:ext cx="1580992" cy="1506738"/>
            <a:chOff x="4885845" y="1562638"/>
            <a:chExt cx="1580992" cy="1506738"/>
          </a:xfrm>
        </p:grpSpPr>
        <p:grpSp>
          <p:nvGrpSpPr>
            <p:cNvPr id="12" name="Group 11" descr="Magenta">
              <a:extLst>
                <a:ext uri="{FF2B5EF4-FFF2-40B4-BE49-F238E27FC236}">
                  <a16:creationId xmlns:a16="http://schemas.microsoft.com/office/drawing/2014/main" id="{B932120A-BD9E-DD90-4723-2B423EB7FF8B}"/>
                </a:ext>
              </a:extLst>
            </p:cNvPr>
            <p:cNvGrpSpPr/>
            <p:nvPr userDrawn="1"/>
          </p:nvGrpSpPr>
          <p:grpSpPr>
            <a:xfrm>
              <a:off x="4885845" y="1562638"/>
              <a:ext cx="1580992" cy="1506738"/>
              <a:chOff x="4130713" y="1467748"/>
              <a:chExt cx="1580992" cy="1506738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6263FBD-0802-7C16-0E0F-1DFFED34525F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4A46543-9745-ACEA-609D-5A3A5B1E5079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271337" cy="15067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F3B89E0-495C-87F2-D39A-B040BBB77B7F}"/>
                  </a:ext>
                </a:extLst>
              </p:cNvPr>
              <p:cNvSpPr/>
              <p:nvPr userDrawn="1"/>
            </p:nvSpPr>
            <p:spPr>
              <a:xfrm>
                <a:off x="4438812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3"/>
                    </a:solidFill>
                  </a:rPr>
                  <a:t>R: </a:t>
                </a:r>
                <a:r>
                  <a:rPr lang="en-US" sz="2000">
                    <a:solidFill>
                      <a:schemeClr val="accent3"/>
                    </a:solidFill>
                  </a:rPr>
                  <a:t>236</a:t>
                </a:r>
                <a:endParaRPr lang="en-US" sz="2000" b="1">
                  <a:solidFill>
                    <a:schemeClr val="accent3"/>
                  </a:solidFill>
                </a:endParaRP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G: </a:t>
                </a:r>
                <a:r>
                  <a:rPr lang="en-US" sz="2000">
                    <a:solidFill>
                      <a:schemeClr val="accent3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B: </a:t>
                </a:r>
                <a:r>
                  <a:rPr lang="en-US" sz="2000">
                    <a:solidFill>
                      <a:schemeClr val="accent3"/>
                    </a:solidFill>
                  </a:rPr>
                  <a:t>140</a:t>
                </a:r>
                <a:endParaRPr lang="en-GB" sz="2000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023BC12-DED9-3703-402C-A76CF9987B3B}"/>
                </a:ext>
              </a:extLst>
            </p:cNvPr>
            <p:cNvSpPr txBox="1"/>
            <p:nvPr userDrawn="1"/>
          </p:nvSpPr>
          <p:spPr>
            <a:xfrm>
              <a:off x="525382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3"/>
                  </a:solidFill>
                </a:rPr>
                <a:t>HEX# EC008C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19D6FBF-9A93-8E8B-CAF7-4A980AD64660}"/>
              </a:ext>
            </a:extLst>
          </p:cNvPr>
          <p:cNvGrpSpPr/>
          <p:nvPr userDrawn="1"/>
        </p:nvGrpSpPr>
        <p:grpSpPr>
          <a:xfrm>
            <a:off x="6588656" y="1735627"/>
            <a:ext cx="1575487" cy="1506738"/>
            <a:chOff x="6588656" y="1569541"/>
            <a:chExt cx="1575487" cy="1506738"/>
          </a:xfrm>
        </p:grpSpPr>
        <p:grpSp>
          <p:nvGrpSpPr>
            <p:cNvPr id="16" name="Group 15" descr="Blue">
              <a:extLst>
                <a:ext uri="{FF2B5EF4-FFF2-40B4-BE49-F238E27FC236}">
                  <a16:creationId xmlns:a16="http://schemas.microsoft.com/office/drawing/2014/main" id="{8551128D-5505-62B1-1E65-37269D348530}"/>
                </a:ext>
              </a:extLst>
            </p:cNvPr>
            <p:cNvGrpSpPr/>
            <p:nvPr userDrawn="1"/>
          </p:nvGrpSpPr>
          <p:grpSpPr>
            <a:xfrm>
              <a:off x="6588656" y="1569541"/>
              <a:ext cx="1575487" cy="1506738"/>
              <a:chOff x="6073813" y="1467748"/>
              <a:chExt cx="1575487" cy="150673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47A3C5B-3225-7755-05BB-39800C2107B7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9239DD9-3279-2B9F-DE91-AB0FCA1939CD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271337" cy="150673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7C8D61-F824-3518-C99E-12FF8E1A4339}"/>
                  </a:ext>
                </a:extLst>
              </p:cNvPr>
              <p:cNvSpPr/>
              <p:nvPr userDrawn="1"/>
            </p:nvSpPr>
            <p:spPr>
              <a:xfrm>
                <a:off x="63764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4"/>
                    </a:solidFill>
                  </a:rPr>
                  <a:t>R: </a:t>
                </a:r>
                <a:r>
                  <a:rPr lang="en-US" sz="2000">
                    <a:solidFill>
                      <a:schemeClr val="accent4"/>
                    </a:solidFill>
                  </a:rPr>
                  <a:t>0</a:t>
                </a:r>
                <a:endParaRPr lang="en-US" sz="2000" b="1">
                  <a:solidFill>
                    <a:schemeClr val="accent4"/>
                  </a:solidFill>
                </a:endParaRPr>
              </a:p>
              <a:p>
                <a:r>
                  <a:rPr lang="en-US" sz="2000" b="1">
                    <a:solidFill>
                      <a:schemeClr val="accent4"/>
                    </a:solidFill>
                  </a:rPr>
                  <a:t>G: </a:t>
                </a:r>
                <a:r>
                  <a:rPr lang="en-US" sz="2000">
                    <a:solidFill>
                      <a:schemeClr val="accent4"/>
                    </a:solidFill>
                  </a:rPr>
                  <a:t>174</a:t>
                </a:r>
              </a:p>
              <a:p>
                <a:r>
                  <a:rPr lang="en-US" sz="2000" b="1">
                    <a:solidFill>
                      <a:schemeClr val="accent4"/>
                    </a:solidFill>
                  </a:rPr>
                  <a:t>B: </a:t>
                </a:r>
                <a:r>
                  <a:rPr lang="en-US" sz="2000">
                    <a:solidFill>
                      <a:schemeClr val="accent4"/>
                    </a:solidFill>
                  </a:rPr>
                  <a:t>239</a:t>
                </a:r>
                <a:endParaRPr lang="en-GB" sz="2000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7EBC304-9EE8-FCB6-9904-6FD299CF18B8}"/>
                </a:ext>
              </a:extLst>
            </p:cNvPr>
            <p:cNvSpPr txBox="1"/>
            <p:nvPr userDrawn="1"/>
          </p:nvSpPr>
          <p:spPr>
            <a:xfrm>
              <a:off x="695503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4"/>
                  </a:solidFill>
                </a:rPr>
                <a:t>HEX# 00AEEF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27F5B94-965F-3F70-8BAA-FD9FE22E30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91E51FE-AE16-847F-9AA0-B76BDC526015}"/>
              </a:ext>
            </a:extLst>
          </p:cNvPr>
          <p:cNvGrpSpPr/>
          <p:nvPr userDrawn="1"/>
        </p:nvGrpSpPr>
        <p:grpSpPr>
          <a:xfrm>
            <a:off x="8577940" y="1735627"/>
            <a:ext cx="1575487" cy="1506738"/>
            <a:chOff x="8577940" y="1562638"/>
            <a:chExt cx="1575487" cy="1506738"/>
          </a:xfrm>
        </p:grpSpPr>
        <p:grpSp>
          <p:nvGrpSpPr>
            <p:cNvPr id="36" name="Group 35" descr="Green">
              <a:extLst>
                <a:ext uri="{FF2B5EF4-FFF2-40B4-BE49-F238E27FC236}">
                  <a16:creationId xmlns:a16="http://schemas.microsoft.com/office/drawing/2014/main" id="{E0275AA6-861E-6F54-2AF7-5B045669FC51}"/>
                </a:ext>
              </a:extLst>
            </p:cNvPr>
            <p:cNvGrpSpPr/>
            <p:nvPr userDrawn="1"/>
          </p:nvGrpSpPr>
          <p:grpSpPr>
            <a:xfrm>
              <a:off x="8577940" y="1562638"/>
              <a:ext cx="1575487" cy="1506738"/>
              <a:chOff x="8453785" y="1467748"/>
              <a:chExt cx="1575487" cy="1506738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CD941C4-31ED-EDE0-850B-B76092F549A2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5F50C0B-2CE3-83C2-1ADB-4A9FE8C080E9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271337" cy="1506738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978E1A-8553-A3DE-AC92-94F633106B00}"/>
                  </a:ext>
                </a:extLst>
              </p:cNvPr>
              <p:cNvSpPr/>
              <p:nvPr userDrawn="1"/>
            </p:nvSpPr>
            <p:spPr>
              <a:xfrm>
                <a:off x="8756379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00B050"/>
                    </a:solidFill>
                  </a:rPr>
                  <a:t>R: </a:t>
                </a:r>
                <a:r>
                  <a:rPr lang="en-US" sz="2000">
                    <a:solidFill>
                      <a:srgbClr val="00B050"/>
                    </a:solidFill>
                  </a:rPr>
                  <a:t> 0</a:t>
                </a:r>
                <a:endParaRPr lang="en-US" sz="2000" b="1">
                  <a:solidFill>
                    <a:srgbClr val="00B050"/>
                  </a:solidFill>
                </a:endParaRPr>
              </a:p>
              <a:p>
                <a:r>
                  <a:rPr lang="en-US" sz="2000" b="1">
                    <a:solidFill>
                      <a:srgbClr val="00B050"/>
                    </a:solidFill>
                  </a:rPr>
                  <a:t>G:  </a:t>
                </a:r>
                <a:r>
                  <a:rPr lang="en-US" sz="2000">
                    <a:solidFill>
                      <a:srgbClr val="00B050"/>
                    </a:solidFill>
                  </a:rPr>
                  <a:t>176</a:t>
                </a:r>
              </a:p>
              <a:p>
                <a:r>
                  <a:rPr lang="en-US" sz="2000" b="1">
                    <a:solidFill>
                      <a:srgbClr val="00B050"/>
                    </a:solidFill>
                  </a:rPr>
                  <a:t>B: </a:t>
                </a:r>
                <a:r>
                  <a:rPr lang="en-US" sz="2000">
                    <a:solidFill>
                      <a:srgbClr val="00B050"/>
                    </a:solidFill>
                  </a:rPr>
                  <a:t> 80</a:t>
                </a:r>
                <a:endParaRPr lang="en-GB" sz="200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1CDAC73-F97F-3ECF-5D70-294808DBD155}"/>
                </a:ext>
              </a:extLst>
            </p:cNvPr>
            <p:cNvSpPr txBox="1"/>
            <p:nvPr userDrawn="1"/>
          </p:nvSpPr>
          <p:spPr>
            <a:xfrm>
              <a:off x="895395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00B050"/>
                  </a:solidFill>
                </a:rPr>
                <a:t>HEX# 00B050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0F5788B-B05D-AF87-3BB2-48079E21FF30}"/>
              </a:ext>
            </a:extLst>
          </p:cNvPr>
          <p:cNvGrpSpPr/>
          <p:nvPr userDrawn="1"/>
        </p:nvGrpSpPr>
        <p:grpSpPr>
          <a:xfrm>
            <a:off x="1572981" y="3505738"/>
            <a:ext cx="1575487" cy="1526063"/>
            <a:chOff x="1572981" y="3505738"/>
            <a:chExt cx="1575487" cy="1526063"/>
          </a:xfrm>
        </p:grpSpPr>
        <p:grpSp>
          <p:nvGrpSpPr>
            <p:cNvPr id="20" name="Group 19" descr="Orange 1">
              <a:extLst>
                <a:ext uri="{FF2B5EF4-FFF2-40B4-BE49-F238E27FC236}">
                  <a16:creationId xmlns:a16="http://schemas.microsoft.com/office/drawing/2014/main" id="{B1C97F3A-1E9C-625D-C2A5-38EF5CDA52DD}"/>
                </a:ext>
              </a:extLst>
            </p:cNvPr>
            <p:cNvGrpSpPr/>
            <p:nvPr userDrawn="1"/>
          </p:nvGrpSpPr>
          <p:grpSpPr>
            <a:xfrm>
              <a:off x="1572981" y="3505738"/>
              <a:ext cx="1575487" cy="1506738"/>
              <a:chOff x="244513" y="3410848"/>
              <a:chExt cx="1575487" cy="150673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AA92976-854E-4E53-53D6-5BF4D008D419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6568AA0-2D38-5A11-6C40-408010739B51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271337" cy="15067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725783F-7E57-C422-C133-573BB42440B2}"/>
                  </a:ext>
                </a:extLst>
              </p:cNvPr>
              <p:cNvSpPr/>
              <p:nvPr userDrawn="1"/>
            </p:nvSpPr>
            <p:spPr>
              <a:xfrm>
                <a:off x="5471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tx2"/>
                    </a:solidFill>
                  </a:rPr>
                  <a:t>R: </a:t>
                </a:r>
                <a:r>
                  <a:rPr lang="en-US" sz="2000">
                    <a:solidFill>
                      <a:schemeClr val="tx2"/>
                    </a:solidFill>
                  </a:rPr>
                  <a:t>249</a:t>
                </a:r>
                <a:endParaRPr lang="en-US" sz="2000" b="1">
                  <a:solidFill>
                    <a:schemeClr val="tx2"/>
                  </a:solidFill>
                </a:endParaRPr>
              </a:p>
              <a:p>
                <a:r>
                  <a:rPr lang="en-US" sz="2000" b="1">
                    <a:solidFill>
                      <a:schemeClr val="tx2"/>
                    </a:solidFill>
                  </a:rPr>
                  <a:t>G: </a:t>
                </a:r>
                <a:r>
                  <a:rPr lang="en-US" sz="2000">
                    <a:solidFill>
                      <a:schemeClr val="tx2"/>
                    </a:solidFill>
                  </a:rPr>
                  <a:t>142</a:t>
                </a:r>
              </a:p>
              <a:p>
                <a:r>
                  <a:rPr lang="en-US" sz="2000" b="1">
                    <a:solidFill>
                      <a:schemeClr val="tx2"/>
                    </a:solidFill>
                  </a:rPr>
                  <a:t>B: </a:t>
                </a:r>
                <a:r>
                  <a:rPr lang="en-US" sz="2000">
                    <a:solidFill>
                      <a:schemeClr val="tx2"/>
                    </a:solidFill>
                  </a:rPr>
                  <a:t>43</a:t>
                </a:r>
                <a:endParaRPr lang="en-GB" sz="200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81EDB96-AC4B-4E5E-F631-416E514B3F9B}"/>
                </a:ext>
              </a:extLst>
            </p:cNvPr>
            <p:cNvSpPr txBox="1"/>
            <p:nvPr userDrawn="1"/>
          </p:nvSpPr>
          <p:spPr>
            <a:xfrm>
              <a:off x="1936466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F98E2B"/>
                  </a:solidFill>
                </a:rPr>
                <a:t>HEX# F98E2B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AA50A0D-490D-22B4-7FE0-4938D5797847}"/>
              </a:ext>
            </a:extLst>
          </p:cNvPr>
          <p:cNvGrpSpPr/>
          <p:nvPr userDrawn="1"/>
        </p:nvGrpSpPr>
        <p:grpSpPr>
          <a:xfrm>
            <a:off x="3244683" y="3505738"/>
            <a:ext cx="1575487" cy="1526063"/>
            <a:chOff x="3233867" y="3505738"/>
            <a:chExt cx="1575487" cy="1526063"/>
          </a:xfrm>
        </p:grpSpPr>
        <p:grpSp>
          <p:nvGrpSpPr>
            <p:cNvPr id="24" name="Group 23" descr="Teal">
              <a:extLst>
                <a:ext uri="{FF2B5EF4-FFF2-40B4-BE49-F238E27FC236}">
                  <a16:creationId xmlns:a16="http://schemas.microsoft.com/office/drawing/2014/main" id="{E842476B-F9C2-870C-09F7-2413207DE2F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GrpSpPr/>
            <p:nvPr userDrawn="1"/>
          </p:nvGrpSpPr>
          <p:grpSpPr>
            <a:xfrm>
              <a:off x="3233867" y="3505738"/>
              <a:ext cx="1575487" cy="1506738"/>
              <a:chOff x="2187613" y="3410848"/>
              <a:chExt cx="1575487" cy="1506738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6648D33-988A-521C-4D2C-A6D68333ACD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FE7BEA2-4982-C5FE-9D97-91739B758EE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271337" cy="1506738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F7F964B-7036-90FC-3A55-3A0C6D5D75B5}"/>
                  </a:ext>
                </a:extLst>
              </p:cNvPr>
              <p:cNvSpPr/>
              <p:nvPr userDrawn="1"/>
            </p:nvSpPr>
            <p:spPr>
              <a:xfrm>
                <a:off x="24902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6"/>
                    </a:solidFill>
                  </a:rPr>
                  <a:t>R: </a:t>
                </a:r>
                <a:r>
                  <a:rPr lang="en-US" sz="2000">
                    <a:solidFill>
                      <a:schemeClr val="accent6"/>
                    </a:solidFill>
                  </a:rPr>
                  <a:t>19</a:t>
                </a:r>
                <a:endParaRPr lang="en-US" sz="2000" b="1">
                  <a:solidFill>
                    <a:schemeClr val="accent6"/>
                  </a:solidFill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</a:rPr>
                  <a:t>G: 208</a:t>
                </a:r>
                <a:endParaRPr lang="en-US" sz="2000">
                  <a:solidFill>
                    <a:schemeClr val="accent6"/>
                  </a:solidFill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</a:rPr>
                  <a:t>B: 202</a:t>
                </a:r>
                <a:endParaRPr lang="en-GB" sz="2000">
                  <a:solidFill>
                    <a:schemeClr val="accent6"/>
                  </a:solidFill>
                </a:endParaRP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6A16C8D-9AF8-1D3E-D240-A707B765CA48}"/>
                </a:ext>
              </a:extLst>
            </p:cNvPr>
            <p:cNvSpPr txBox="1"/>
            <p:nvPr userDrawn="1"/>
          </p:nvSpPr>
          <p:spPr>
            <a:xfrm>
              <a:off x="359514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6"/>
                  </a:solidFill>
                </a:rPr>
                <a:t>HEX# 13D0CA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421AFFE-3967-D1F1-5F63-BD66AB4F3BE3}"/>
              </a:ext>
            </a:extLst>
          </p:cNvPr>
          <p:cNvGrpSpPr/>
          <p:nvPr userDrawn="1"/>
        </p:nvGrpSpPr>
        <p:grpSpPr>
          <a:xfrm>
            <a:off x="4916385" y="3508619"/>
            <a:ext cx="1576056" cy="1520301"/>
            <a:chOff x="4889027" y="3511500"/>
            <a:chExt cx="1576056" cy="1520301"/>
          </a:xfrm>
        </p:grpSpPr>
        <p:grpSp>
          <p:nvGrpSpPr>
            <p:cNvPr id="28" name="Group 27" descr="Lime Green">
              <a:extLst>
                <a:ext uri="{FF2B5EF4-FFF2-40B4-BE49-F238E27FC236}">
                  <a16:creationId xmlns:a16="http://schemas.microsoft.com/office/drawing/2014/main" id="{A9AAA958-3998-D8AE-3CB2-90FB6C847E39}"/>
                </a:ext>
              </a:extLst>
            </p:cNvPr>
            <p:cNvGrpSpPr/>
            <p:nvPr userDrawn="1"/>
          </p:nvGrpSpPr>
          <p:grpSpPr>
            <a:xfrm>
              <a:off x="4889027" y="3511500"/>
              <a:ext cx="1576056" cy="1506738"/>
              <a:chOff x="4130713" y="3410848"/>
              <a:chExt cx="1576056" cy="1506738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E8C02A4-AEA9-923F-D4FD-B778BFE18738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793D54C-540F-04FA-4310-F86C68F0B92E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271337" cy="15067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9A3215D-6F35-FFAB-3277-3E9F2BDC2BD0}"/>
                  </a:ext>
                </a:extLst>
              </p:cNvPr>
              <p:cNvSpPr/>
              <p:nvPr userDrawn="1"/>
            </p:nvSpPr>
            <p:spPr>
              <a:xfrm>
                <a:off x="4438812" y="3645326"/>
                <a:ext cx="1267957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bg2"/>
                    </a:solidFill>
                  </a:rPr>
                  <a:t>R: </a:t>
                </a:r>
                <a:r>
                  <a:rPr lang="en-US" sz="2000">
                    <a:solidFill>
                      <a:schemeClr val="bg2"/>
                    </a:solidFill>
                  </a:rPr>
                  <a:t>163</a:t>
                </a:r>
                <a:endParaRPr lang="en-US" sz="2000" b="1">
                  <a:solidFill>
                    <a:schemeClr val="bg2"/>
                  </a:solidFill>
                </a:endParaRP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G: </a:t>
                </a:r>
                <a:r>
                  <a:rPr lang="en-US" sz="2000">
                    <a:solidFill>
                      <a:schemeClr val="bg2"/>
                    </a:solidFill>
                  </a:rPr>
                  <a:t>213</a:t>
                </a: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B:</a:t>
                </a:r>
                <a:r>
                  <a:rPr lang="en-US" sz="2000">
                    <a:solidFill>
                      <a:schemeClr val="bg2"/>
                    </a:solidFill>
                  </a:rPr>
                  <a:t> 95</a:t>
                </a:r>
                <a:endParaRPr lang="en-GB" sz="200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4D3D7DB-3ABB-B8F5-654B-62BA4995BEF1}"/>
                </a:ext>
              </a:extLst>
            </p:cNvPr>
            <p:cNvSpPr txBox="1"/>
            <p:nvPr userDrawn="1"/>
          </p:nvSpPr>
          <p:spPr>
            <a:xfrm>
              <a:off x="525382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bg2"/>
                  </a:solidFill>
                </a:rPr>
                <a:t>HEX# A3D55F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84F28FE-B1C8-4205-0854-12FC23B12BB7}"/>
              </a:ext>
            </a:extLst>
          </p:cNvPr>
          <p:cNvGrpSpPr/>
          <p:nvPr userDrawn="1"/>
        </p:nvGrpSpPr>
        <p:grpSpPr>
          <a:xfrm>
            <a:off x="6588656" y="3508619"/>
            <a:ext cx="1575487" cy="1520301"/>
            <a:chOff x="6588656" y="3511500"/>
            <a:chExt cx="1575487" cy="1520301"/>
          </a:xfrm>
        </p:grpSpPr>
        <p:grpSp>
          <p:nvGrpSpPr>
            <p:cNvPr id="32" name="Group 31" descr="Orange 2">
              <a:extLst>
                <a:ext uri="{FF2B5EF4-FFF2-40B4-BE49-F238E27FC236}">
                  <a16:creationId xmlns:a16="http://schemas.microsoft.com/office/drawing/2014/main" id="{32C9E950-1E8C-4FE2-707F-5EE4F495F23A}"/>
                </a:ext>
              </a:extLst>
            </p:cNvPr>
            <p:cNvGrpSpPr/>
            <p:nvPr userDrawn="1"/>
          </p:nvGrpSpPr>
          <p:grpSpPr>
            <a:xfrm>
              <a:off x="6588656" y="3511500"/>
              <a:ext cx="1575487" cy="1506738"/>
              <a:chOff x="6073813" y="3410848"/>
              <a:chExt cx="1575487" cy="150673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3FBDAD-86F2-DED9-5FBA-3BB7789B4748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9442025-EC6B-9202-7501-CD7877026D1B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271337" cy="150673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F734C66-6C25-41BC-44C1-4C2B2BDB2EB7}"/>
                  </a:ext>
                </a:extLst>
              </p:cNvPr>
              <p:cNvSpPr/>
              <p:nvPr userDrawn="1"/>
            </p:nvSpPr>
            <p:spPr>
              <a:xfrm>
                <a:off x="63764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5"/>
                    </a:solidFill>
                  </a:rPr>
                  <a:t>R: </a:t>
                </a:r>
                <a:r>
                  <a:rPr lang="en-US" sz="2000">
                    <a:solidFill>
                      <a:schemeClr val="accent5"/>
                    </a:solidFill>
                  </a:rPr>
                  <a:t>236</a:t>
                </a:r>
                <a:endParaRPr lang="en-US" sz="2000" b="1">
                  <a:solidFill>
                    <a:schemeClr val="accent5"/>
                  </a:solidFill>
                </a:endParaRPr>
              </a:p>
              <a:p>
                <a:r>
                  <a:rPr lang="en-US" sz="2000" b="1">
                    <a:solidFill>
                      <a:schemeClr val="accent5"/>
                    </a:solidFill>
                  </a:rPr>
                  <a:t>G: </a:t>
                </a:r>
                <a:r>
                  <a:rPr lang="en-US" sz="2000">
                    <a:solidFill>
                      <a:schemeClr val="accent5"/>
                    </a:solidFill>
                  </a:rPr>
                  <a:t>232</a:t>
                </a:r>
              </a:p>
              <a:p>
                <a:r>
                  <a:rPr lang="en-US" sz="2000" b="1">
                    <a:solidFill>
                      <a:schemeClr val="accent5"/>
                    </a:solidFill>
                  </a:rPr>
                  <a:t>B: </a:t>
                </a:r>
                <a:r>
                  <a:rPr lang="en-US" sz="2000">
                    <a:solidFill>
                      <a:schemeClr val="accent5"/>
                    </a:solidFill>
                  </a:rPr>
                  <a:t>25</a:t>
                </a:r>
                <a:endParaRPr lang="en-GB" sz="2000">
                  <a:solidFill>
                    <a:schemeClr val="accent5"/>
                  </a:solidFill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C730B10-4598-E506-CA62-CB59C4913B33}"/>
                </a:ext>
              </a:extLst>
            </p:cNvPr>
            <p:cNvSpPr txBox="1"/>
            <p:nvPr userDrawn="1"/>
          </p:nvSpPr>
          <p:spPr>
            <a:xfrm>
              <a:off x="695503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5"/>
                  </a:solidFill>
                </a:rPr>
                <a:t>HEX# ECE81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2290FDF-C8BE-8838-DD16-5C882AE20EA8}"/>
              </a:ext>
            </a:extLst>
          </p:cNvPr>
          <p:cNvGrpSpPr/>
          <p:nvPr userDrawn="1"/>
        </p:nvGrpSpPr>
        <p:grpSpPr>
          <a:xfrm>
            <a:off x="8578725" y="3505738"/>
            <a:ext cx="1575487" cy="1526063"/>
            <a:chOff x="8578725" y="3505738"/>
            <a:chExt cx="1575487" cy="1526063"/>
          </a:xfrm>
        </p:grpSpPr>
        <p:grpSp>
          <p:nvGrpSpPr>
            <p:cNvPr id="40" name="Group 39" descr="Red">
              <a:extLst>
                <a:ext uri="{FF2B5EF4-FFF2-40B4-BE49-F238E27FC236}">
                  <a16:creationId xmlns:a16="http://schemas.microsoft.com/office/drawing/2014/main" id="{310FDE6E-ECB1-5852-0526-5144B9BCF487}"/>
                </a:ext>
              </a:extLst>
            </p:cNvPr>
            <p:cNvGrpSpPr/>
            <p:nvPr userDrawn="1"/>
          </p:nvGrpSpPr>
          <p:grpSpPr>
            <a:xfrm>
              <a:off x="8578725" y="3505738"/>
              <a:ext cx="1575487" cy="1506738"/>
              <a:chOff x="8453785" y="3410848"/>
              <a:chExt cx="1575487" cy="150673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66ED7EA-917E-AD87-C012-447802F954A8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E47BD5B0-9971-D67C-E57E-FA8B5C4506FA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271337" cy="150673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9A61F5-F2CA-196C-C3B9-A90D4D7D47CC}"/>
                  </a:ext>
                </a:extLst>
              </p:cNvPr>
              <p:cNvSpPr/>
              <p:nvPr userDrawn="1"/>
            </p:nvSpPr>
            <p:spPr>
              <a:xfrm>
                <a:off x="8756379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C00000"/>
                    </a:solidFill>
                  </a:rPr>
                  <a:t>R:  </a:t>
                </a:r>
                <a:r>
                  <a:rPr lang="en-US" sz="2000">
                    <a:solidFill>
                      <a:srgbClr val="C00000"/>
                    </a:solidFill>
                  </a:rPr>
                  <a:t>192</a:t>
                </a:r>
                <a:endParaRPr lang="en-US" sz="2000" b="1">
                  <a:solidFill>
                    <a:srgbClr val="C00000"/>
                  </a:solidFill>
                </a:endParaRP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G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B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  <a:endParaRPr lang="en-GB" sz="2000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86ED5B6-AFB5-A00F-ADC9-7DC83A2C4105}"/>
                </a:ext>
              </a:extLst>
            </p:cNvPr>
            <p:cNvSpPr txBox="1"/>
            <p:nvPr userDrawn="1"/>
          </p:nvSpPr>
          <p:spPr>
            <a:xfrm>
              <a:off x="895395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C00000"/>
                  </a:solidFill>
                </a:rPr>
                <a:t>HEX# C000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7F38E5B-CC5C-7002-2AA4-EAB7AE8194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1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A32F10DD-69C6-CE5B-2E2B-F9DEE6237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8F9EE65A-BFD4-13CB-9C40-DFF42657C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84C9038-73F8-DF10-7549-13227FA7E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63435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Simple - 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FC4AA0-48F6-22DB-BDF2-45F34C960A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3A24279E-A769-1892-6035-7D19626CD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A758476E-A549-F6AE-A8D0-2FCEB7422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1582B9-673D-D486-E5A0-53E92F3172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11" name="Title 1" descr="Title Block for Transition Slide with Photo #3">
            <a:extLst>
              <a:ext uri="{FF2B5EF4-FFF2-40B4-BE49-F238E27FC236}">
                <a16:creationId xmlns:a16="http://schemas.microsoft.com/office/drawing/2014/main" id="{49D59041-AFBC-7E5B-B269-5384A020F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F1E11F2-C716-1A0B-8EE4-37D444A64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7F58EF-B982-9E7E-1DD7-C397820EBD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82B54384-AB29-7FEB-CAF7-DC14796529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82BC34EE-FF22-A0F2-5A2A-DB6646E2E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91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837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650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06" imgH="306" progId="TCLayout.ActiveDocument.1">
                  <p:embed/>
                </p:oleObj>
              </mc:Choice>
              <mc:Fallback>
                <p:oleObj name="think-cell Slide" r:id="rId3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bg1"/>
                </a:solidFill>
                <a:effectLst/>
                <a:latin typeface="Montserrat Light" pitchFamily="2" charset="77"/>
                <a:ea typeface="+mn-ea"/>
                <a:cs typeface="+mn-cs"/>
              </a:rPr>
              <a:t>© 2025 Cotiviti, Inc. All rights reserved. All proprietary information shall remain the sole and exclusive property of Cotiviti, Inc.</a:t>
            </a:r>
            <a:endParaRPr lang="en-US" sz="100" b="0" i="0" kern="1200">
              <a:solidFill>
                <a:schemeClr val="bg1"/>
              </a:solidFill>
              <a:effectLst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32981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pink stripe on a black background&#10;&#10;Description automatically generated">
            <a:extLst>
              <a:ext uri="{FF2B5EF4-FFF2-40B4-BE49-F238E27FC236}">
                <a16:creationId xmlns:a16="http://schemas.microsoft.com/office/drawing/2014/main" id="{D900BA8A-B092-0E5C-E80A-6E38D01E9E6B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87" y="6588523"/>
            <a:ext cx="1242813" cy="14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64" r:id="rId2"/>
    <p:sldLayoutId id="2147483765" r:id="rId3"/>
    <p:sldLayoutId id="2147483766" r:id="rId4"/>
    <p:sldLayoutId id="2147483706" r:id="rId5"/>
    <p:sldLayoutId id="2147483707" r:id="rId6"/>
    <p:sldLayoutId id="2147483705" r:id="rId7"/>
    <p:sldLayoutId id="2147483759" r:id="rId8"/>
    <p:sldLayoutId id="2147483761" r:id="rId9"/>
    <p:sldLayoutId id="2147483762" r:id="rId10"/>
    <p:sldLayoutId id="2147483760" r:id="rId11"/>
    <p:sldLayoutId id="2147483763" r:id="rId12"/>
    <p:sldLayoutId id="2147483767" r:id="rId13"/>
    <p:sldLayoutId id="2147483757" r:id="rId14"/>
    <p:sldLayoutId id="2147483675" r:id="rId15"/>
    <p:sldLayoutId id="2147483742" r:id="rId16"/>
    <p:sldLayoutId id="2147483679" r:id="rId17"/>
    <p:sldLayoutId id="2147483680" r:id="rId18"/>
    <p:sldLayoutId id="2147483681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11" r:id="rId25"/>
    <p:sldLayoutId id="2147483712" r:id="rId26"/>
    <p:sldLayoutId id="2147483743" r:id="rId27"/>
    <p:sldLayoutId id="2147483741" r:id="rId28"/>
    <p:sldLayoutId id="2147483727" r:id="rId29"/>
    <p:sldLayoutId id="2147483750" r:id="rId30"/>
    <p:sldLayoutId id="2147483749" r:id="rId31"/>
    <p:sldLayoutId id="2147483728" r:id="rId3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microsoft.com/office/2007/relationships/hdphoto" Target="../media/hdphoto2.wdp"/><Relationship Id="rId7" Type="http://schemas.microsoft.com/office/2007/relationships/hdphoto" Target="../media/hdphoto3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2.png"/><Relationship Id="rId5" Type="http://schemas.openxmlformats.org/officeDocument/2006/relationships/image" Target="../media/image41.jpeg"/><Relationship Id="rId4" Type="http://schemas.openxmlformats.org/officeDocument/2006/relationships/image" Target="../media/image40.png"/><Relationship Id="rId9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microsoft.com/office/2007/relationships/hdphoto" Target="../media/hdphoto5.wdp"/><Relationship Id="rId7" Type="http://schemas.openxmlformats.org/officeDocument/2006/relationships/image" Target="../media/image5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chart" Target="../charts/chart2.xml"/><Relationship Id="rId7" Type="http://schemas.openxmlformats.org/officeDocument/2006/relationships/image" Target="../media/image6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image" Target="../media/image60.png"/><Relationship Id="rId7" Type="http://schemas.openxmlformats.org/officeDocument/2006/relationships/image" Target="../media/image64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6.png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6.png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chart" Target="../charts/chart14.xml"/><Relationship Id="rId7" Type="http://schemas.openxmlformats.org/officeDocument/2006/relationships/image" Target="../media/image63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D23D0-F432-46AD-2DBD-FD745D14A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835" y="2251494"/>
            <a:ext cx="7356241" cy="88978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/>
              <a:t>AI, Analytics, and Innovation: </a:t>
            </a:r>
            <a:br>
              <a:rPr lang="en-US" sz="2800"/>
            </a:br>
            <a:r>
              <a:rPr lang="en-US" sz="2800"/>
              <a:t>My Cotiviti Internship Journe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F913E5-740C-B9AD-B222-B4F0586C0B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835" y="3330162"/>
            <a:ext cx="6355543" cy="508228"/>
          </a:xfrm>
        </p:spPr>
        <p:txBody>
          <a:bodyPr>
            <a:normAutofit/>
          </a:bodyPr>
          <a:lstStyle/>
          <a:p>
            <a:r>
              <a:rPr lang="en-US" sz="1800"/>
              <a:t>Pooja Kabad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AD07E7-5376-90AB-5766-0A96194995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11/03/2025</a:t>
            </a:r>
          </a:p>
        </p:txBody>
      </p:sp>
    </p:spTree>
    <p:extLst>
      <p:ext uri="{BB962C8B-B14F-4D97-AF65-F5344CB8AC3E}">
        <p14:creationId xmlns:p14="http://schemas.microsoft.com/office/powerpoint/2010/main" val="3896721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495588C-A9FA-7042-4084-6AC4949FE25C}"/>
              </a:ext>
            </a:extLst>
          </p:cNvPr>
          <p:cNvSpPr/>
          <p:nvPr/>
        </p:nvSpPr>
        <p:spPr>
          <a:xfrm>
            <a:off x="242596" y="485200"/>
            <a:ext cx="11721005" cy="699796"/>
          </a:xfrm>
          <a:prstGeom prst="roundRect">
            <a:avLst/>
          </a:prstGeom>
          <a:solidFill>
            <a:srgbClr val="C2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0E6D900-0663-8B46-285F-F416D30107D3}"/>
              </a:ext>
            </a:extLst>
          </p:cNvPr>
          <p:cNvSpPr/>
          <p:nvPr/>
        </p:nvSpPr>
        <p:spPr>
          <a:xfrm>
            <a:off x="242596" y="1431348"/>
            <a:ext cx="2143125" cy="4088580"/>
          </a:xfrm>
          <a:prstGeom prst="roundRect">
            <a:avLst/>
          </a:prstGeom>
          <a:noFill/>
          <a:ln w="76200">
            <a:solidFill>
              <a:srgbClr val="C2B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5A15C1-E745-2AE7-FD8B-F8200EFF1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399" y="639770"/>
            <a:ext cx="11706808" cy="390656"/>
          </a:xfrm>
        </p:spPr>
        <p:txBody>
          <a:bodyPr/>
          <a:lstStyle/>
          <a:p>
            <a:pPr algn="ctr"/>
            <a:r>
              <a:rPr lang="en-US"/>
              <a:t>Next steps &amp; Roadmap Ahea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1FA5A-BF3A-A706-E6FE-C765A3A1C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0</a:t>
            </a:fld>
            <a:endParaRPr lang="en-US"/>
          </a:p>
        </p:txBody>
      </p:sp>
      <p:pic>
        <p:nvPicPr>
          <p:cNvPr id="5122" name="Picture 2" descr="What is a Large Language Model (LLM)? | OVHcloud UK">
            <a:extLst>
              <a:ext uri="{FF2B5EF4-FFF2-40B4-BE49-F238E27FC236}">
                <a16:creationId xmlns:a16="http://schemas.microsoft.com/office/drawing/2014/main" id="{E25D3CC5-978A-6347-75ED-B9D8BDFF7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24" y="2491890"/>
            <a:ext cx="960867" cy="943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Enhanced Productivity Icon Design 44798012 Vector Art at Vecteezy">
            <a:extLst>
              <a:ext uri="{FF2B5EF4-FFF2-40B4-BE49-F238E27FC236}">
                <a16:creationId xmlns:a16="http://schemas.microsoft.com/office/drawing/2014/main" id="{27957FC9-0879-BB3E-52C0-01E2FCFED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rgbClr val="30006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986" y="2142769"/>
            <a:ext cx="1589445" cy="1589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Kenapa Harus Backup Transaksi Sistem Kasir? - Kios Barcode">
            <a:extLst>
              <a:ext uri="{FF2B5EF4-FFF2-40B4-BE49-F238E27FC236}">
                <a16:creationId xmlns:a16="http://schemas.microsoft.com/office/drawing/2014/main" id="{E183B7D8-88FA-AAB3-FF09-55F145218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68" t="15663" r="18254" b="21837"/>
          <a:stretch>
            <a:fillRect/>
          </a:stretch>
        </p:blipFill>
        <p:spPr bwMode="auto">
          <a:xfrm>
            <a:off x="5542383" y="2290729"/>
            <a:ext cx="1249567" cy="119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CloudAgent: AI-Powered Cloud Workforce for Management &amp; Security">
            <a:extLst>
              <a:ext uri="{FF2B5EF4-FFF2-40B4-BE49-F238E27FC236}">
                <a16:creationId xmlns:a16="http://schemas.microsoft.com/office/drawing/2014/main" id="{A6F51DA2-657E-2E1E-0E51-FF129A484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271" y="2422168"/>
            <a:ext cx="1232296" cy="103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World data logo design template | Premium Vector">
            <a:extLst>
              <a:ext uri="{FF2B5EF4-FFF2-40B4-BE49-F238E27FC236}">
                <a16:creationId xmlns:a16="http://schemas.microsoft.com/office/drawing/2014/main" id="{16DE15B7-D2D5-7F03-1335-3F0F0774E1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162" t="18516" r="23071" b="38367"/>
          <a:stretch>
            <a:fillRect/>
          </a:stretch>
        </p:blipFill>
        <p:spPr bwMode="auto">
          <a:xfrm>
            <a:off x="10177128" y="2325507"/>
            <a:ext cx="1429820" cy="119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493C5B5-91D8-B9D0-271B-1D7D6410C560}"/>
              </a:ext>
            </a:extLst>
          </p:cNvPr>
          <p:cNvSpPr/>
          <p:nvPr/>
        </p:nvSpPr>
        <p:spPr>
          <a:xfrm>
            <a:off x="2637066" y="1431348"/>
            <a:ext cx="2143125" cy="4088580"/>
          </a:xfrm>
          <a:prstGeom prst="roundRect">
            <a:avLst/>
          </a:prstGeom>
          <a:noFill/>
          <a:ln w="76200">
            <a:solidFill>
              <a:srgbClr val="C2B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FEA5DAB-5B1E-BFFB-0E3B-5142207EE654}"/>
              </a:ext>
            </a:extLst>
          </p:cNvPr>
          <p:cNvSpPr/>
          <p:nvPr/>
        </p:nvSpPr>
        <p:spPr>
          <a:xfrm>
            <a:off x="5031536" y="1431348"/>
            <a:ext cx="2143125" cy="4088580"/>
          </a:xfrm>
          <a:prstGeom prst="roundRect">
            <a:avLst/>
          </a:prstGeom>
          <a:noFill/>
          <a:ln w="76200">
            <a:solidFill>
              <a:srgbClr val="C2B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57B1E48-6072-7FC2-88F2-A47702B88B22}"/>
              </a:ext>
            </a:extLst>
          </p:cNvPr>
          <p:cNvSpPr/>
          <p:nvPr/>
        </p:nvSpPr>
        <p:spPr>
          <a:xfrm>
            <a:off x="7426006" y="1431348"/>
            <a:ext cx="2143125" cy="4088580"/>
          </a:xfrm>
          <a:prstGeom prst="roundRect">
            <a:avLst/>
          </a:prstGeom>
          <a:noFill/>
          <a:ln w="76200">
            <a:solidFill>
              <a:srgbClr val="C2B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365042A-DDC0-1165-977D-984BD338420D}"/>
              </a:ext>
            </a:extLst>
          </p:cNvPr>
          <p:cNvSpPr/>
          <p:nvPr/>
        </p:nvSpPr>
        <p:spPr>
          <a:xfrm>
            <a:off x="9820476" y="1431348"/>
            <a:ext cx="2143125" cy="4088580"/>
          </a:xfrm>
          <a:prstGeom prst="roundRect">
            <a:avLst/>
          </a:prstGeom>
          <a:noFill/>
          <a:ln w="76200">
            <a:solidFill>
              <a:srgbClr val="C2B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58E0ED-9C2E-D7DB-9091-2F366B51120C}"/>
              </a:ext>
            </a:extLst>
          </p:cNvPr>
          <p:cNvSpPr txBox="1"/>
          <p:nvPr/>
        </p:nvSpPr>
        <p:spPr>
          <a:xfrm>
            <a:off x="476390" y="1876524"/>
            <a:ext cx="16755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31006F"/>
                </a:solidFill>
              </a:rPr>
              <a:t>Baseline Model </a:t>
            </a:r>
            <a:br>
              <a:rPr lang="en-US" sz="1200" b="1">
                <a:solidFill>
                  <a:srgbClr val="31006F"/>
                </a:solidFill>
              </a:rPr>
            </a:br>
            <a:r>
              <a:rPr lang="en-US" sz="1200" b="1">
                <a:solidFill>
                  <a:srgbClr val="31006F"/>
                </a:solidFill>
              </a:rPr>
              <a:t>(85% Accuracy)</a:t>
            </a:r>
            <a:endParaRPr lang="en-US" sz="1200">
              <a:solidFill>
                <a:srgbClr val="31006F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915C576-F148-6145-5A0D-EF75803F766E}"/>
              </a:ext>
            </a:extLst>
          </p:cNvPr>
          <p:cNvSpPr txBox="1"/>
          <p:nvPr/>
        </p:nvSpPr>
        <p:spPr>
          <a:xfrm>
            <a:off x="2870860" y="1876524"/>
            <a:ext cx="16755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31006F"/>
                </a:solidFill>
              </a:rPr>
              <a:t>Improve to </a:t>
            </a:r>
            <a:br>
              <a:rPr lang="en-US" sz="1200" b="1">
                <a:solidFill>
                  <a:srgbClr val="31006F"/>
                </a:solidFill>
              </a:rPr>
            </a:br>
            <a:r>
              <a:rPr lang="en-US" sz="1200" b="1">
                <a:solidFill>
                  <a:srgbClr val="31006F"/>
                </a:solidFill>
              </a:rPr>
              <a:t>95%+ Accuracy</a:t>
            </a:r>
            <a:endParaRPr lang="en-US" sz="1200">
              <a:solidFill>
                <a:srgbClr val="31006F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09B310-3D4C-CA75-5C8D-643CDDE03DCD}"/>
              </a:ext>
            </a:extLst>
          </p:cNvPr>
          <p:cNvSpPr txBox="1"/>
          <p:nvPr/>
        </p:nvSpPr>
        <p:spPr>
          <a:xfrm>
            <a:off x="5244036" y="1876524"/>
            <a:ext cx="16755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31006F"/>
                </a:solidFill>
              </a:rPr>
              <a:t>Integrate Multi-source Data </a:t>
            </a:r>
            <a:endParaRPr lang="en-US" sz="1200">
              <a:solidFill>
                <a:srgbClr val="31006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0DD93B-3F81-AE31-F8E0-126F65D2FD63}"/>
              </a:ext>
            </a:extLst>
          </p:cNvPr>
          <p:cNvSpPr txBox="1"/>
          <p:nvPr/>
        </p:nvSpPr>
        <p:spPr>
          <a:xfrm>
            <a:off x="7645606" y="1876524"/>
            <a:ext cx="16755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31006F"/>
                </a:solidFill>
              </a:rPr>
              <a:t>Explore Databricks &amp; OCI Data Agents</a:t>
            </a:r>
            <a:endParaRPr lang="en-US" sz="1200">
              <a:solidFill>
                <a:srgbClr val="31006F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1C09D0-CDCA-289F-ABB9-D494C4013779}"/>
              </a:ext>
            </a:extLst>
          </p:cNvPr>
          <p:cNvSpPr txBox="1"/>
          <p:nvPr/>
        </p:nvSpPr>
        <p:spPr>
          <a:xfrm>
            <a:off x="10040076" y="1887520"/>
            <a:ext cx="16755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31006F"/>
                </a:solidFill>
              </a:rPr>
              <a:t>Select &amp; Scale the Best Platform</a:t>
            </a:r>
            <a:endParaRPr lang="en-US" sz="1200">
              <a:solidFill>
                <a:srgbClr val="31006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0830671-8C84-1B4E-7020-5FB733BF826F}"/>
              </a:ext>
            </a:extLst>
          </p:cNvPr>
          <p:cNvSpPr txBox="1"/>
          <p:nvPr/>
        </p:nvSpPr>
        <p:spPr>
          <a:xfrm>
            <a:off x="242595" y="3681796"/>
            <a:ext cx="214312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The existing Microsoft Fabric AI Data Agent achieves 85% SQL accuracy and serves as the foundation for enhancem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73AAF1-83AB-07EE-7DB6-4A55F9FDE1ED}"/>
              </a:ext>
            </a:extLst>
          </p:cNvPr>
          <p:cNvSpPr txBox="1"/>
          <p:nvPr/>
        </p:nvSpPr>
        <p:spPr>
          <a:xfrm>
            <a:off x="2622869" y="3681796"/>
            <a:ext cx="214312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Optimize the AI instructions and prompts to expand the metric coverage and refine validation logic to reach 95%+ accurac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C252C1-90C7-F0A8-A24C-8847E5C578CD}"/>
              </a:ext>
            </a:extLst>
          </p:cNvPr>
          <p:cNvSpPr txBox="1"/>
          <p:nvPr/>
        </p:nvSpPr>
        <p:spPr>
          <a:xfrm>
            <a:off x="5031536" y="3727995"/>
            <a:ext cx="214312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Add multiple enterprise data sources into the Fabric Lakehouse to enable richer multi-layered Analytic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37F1EC-7835-561C-BB84-BC21FD5A3A1F}"/>
              </a:ext>
            </a:extLst>
          </p:cNvPr>
          <p:cNvSpPr txBox="1"/>
          <p:nvPr/>
        </p:nvSpPr>
        <p:spPr>
          <a:xfrm>
            <a:off x="7426006" y="3710637"/>
            <a:ext cx="214312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Experiment with alternate data agents like Databricks and OCI (Oracles Generative AI) to compare scalability and performanc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55EAD2-0002-CAD9-FA8E-27E2091DA524}"/>
              </a:ext>
            </a:extLst>
          </p:cNvPr>
          <p:cNvSpPr txBox="1"/>
          <p:nvPr/>
        </p:nvSpPr>
        <p:spPr>
          <a:xfrm>
            <a:off x="9820476" y="3762773"/>
            <a:ext cx="214312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Finalize the most efficient and secure platform to scale all OI-Data products and complex ad-hoc requests enterprise wide for quick insights</a:t>
            </a:r>
          </a:p>
        </p:txBody>
      </p:sp>
    </p:spTree>
    <p:extLst>
      <p:ext uri="{BB962C8B-B14F-4D97-AF65-F5344CB8AC3E}">
        <p14:creationId xmlns:p14="http://schemas.microsoft.com/office/powerpoint/2010/main" val="50904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F43C7-C3E3-4275-0A94-783970D06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867BE8-A10F-81F7-D4D3-3C5464487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203" y="3915788"/>
            <a:ext cx="4917335" cy="1054378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  <a:latin typeface="Montserrat"/>
              </a:rPr>
              <a:t>Data Driven Approach for E&amp;M LOS</a:t>
            </a:r>
            <a:endParaRPr lang="en-US">
              <a:solidFill>
                <a:schemeClr val="accent3"/>
              </a:solidFill>
              <a:latin typeface="Montserrat" panose="00000500000000000000" pitchFamily="2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848540-CB2B-8ED1-CF7C-E9516422F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133600"/>
            <a:ext cx="5600700" cy="1685925"/>
          </a:xfrm>
        </p:spPr>
        <p:txBody>
          <a:bodyPr/>
          <a:lstStyle/>
          <a:p>
            <a:pPr marL="166688" defTabSz="1280160">
              <a:lnSpc>
                <a:spcPct val="100000"/>
              </a:lnSpc>
              <a:spcBef>
                <a:spcPts val="0"/>
              </a:spcBef>
              <a:defRPr/>
            </a:pPr>
            <a:r>
              <a:rPr lang="en-US">
                <a:solidFill>
                  <a:srgbClr val="30006F"/>
                </a:solidFill>
              </a:rPr>
              <a:t>Evaluation and Management Level of Service Recalibration</a:t>
            </a:r>
          </a:p>
        </p:txBody>
      </p:sp>
    </p:spTree>
    <p:extLst>
      <p:ext uri="{BB962C8B-B14F-4D97-AF65-F5344CB8AC3E}">
        <p14:creationId xmlns:p14="http://schemas.microsoft.com/office/powerpoint/2010/main" val="1932504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9C470B9-EBBC-AD69-95F7-6ABB6234C30A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441B1C-8F9B-0CD9-0711-4A0694EBF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2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4E0C4778-6F52-5E09-FD6C-450D652C5702}"/>
              </a:ext>
            </a:extLst>
          </p:cNvPr>
          <p:cNvSpPr txBox="1">
            <a:spLocks/>
          </p:cNvSpPr>
          <p:nvPr/>
        </p:nvSpPr>
        <p:spPr>
          <a:xfrm>
            <a:off x="2803483" y="1358771"/>
            <a:ext cx="8178899" cy="389254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>
                <a:solidFill>
                  <a:schemeClr val="tx1"/>
                </a:solidFill>
              </a:rPr>
              <a:t> LOS where it’s appropriate. 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sz="140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Compliance &amp; transparency</a:t>
            </a:r>
          </a:p>
          <a:p>
            <a:endParaRPr lang="en-US">
              <a:solidFill>
                <a:schemeClr val="tx1"/>
              </a:solidFill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1176C507-FE9C-3E7F-AD9F-2AB8F7B5CB43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DD95F-9E5A-4E88-F892-754B8725926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39" y="1358771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A26AA9F0-93B6-E241-FCC5-1120ADDC47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94" y="3767016"/>
            <a:ext cx="954866" cy="95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63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2" name="Picture 14" descr="software, framework and automation line icon 2152207 Vector Art at Vecteezy">
            <a:extLst>
              <a:ext uri="{FF2B5EF4-FFF2-40B4-BE49-F238E27FC236}">
                <a16:creationId xmlns:a16="http://schemas.microsoft.com/office/drawing/2014/main" id="{67C1CDF1-8BCB-223C-32A3-3660E0BAB0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253" y="3405866"/>
            <a:ext cx="1298235" cy="1298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6799451C-79AB-BCD9-CE66-8918893A4008}"/>
              </a:ext>
            </a:extLst>
          </p:cNvPr>
          <p:cNvSpPr/>
          <p:nvPr/>
        </p:nvSpPr>
        <p:spPr>
          <a:xfrm>
            <a:off x="172282" y="1455739"/>
            <a:ext cx="6262367" cy="4866735"/>
          </a:xfrm>
          <a:prstGeom prst="rect">
            <a:avLst/>
          </a:prstGeom>
          <a:noFill/>
          <a:ln w="762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C5D172CF-A912-EBAD-33D2-C9A50C611621}"/>
              </a:ext>
            </a:extLst>
          </p:cNvPr>
          <p:cNvSpPr/>
          <p:nvPr/>
        </p:nvSpPr>
        <p:spPr>
          <a:xfrm>
            <a:off x="1724403" y="3351829"/>
            <a:ext cx="4454382" cy="1391085"/>
          </a:xfrm>
          <a:prstGeom prst="roundRect">
            <a:avLst/>
          </a:prstGeom>
          <a:noFill/>
          <a:ln w="38100">
            <a:solidFill>
              <a:srgbClr val="F2F1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4FAB96-52C6-BC77-4032-0B52163F2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D1B78D-66AD-6B16-8DCC-0743417E2797}"/>
              </a:ext>
            </a:extLst>
          </p:cNvPr>
          <p:cNvSpPr/>
          <p:nvPr/>
        </p:nvSpPr>
        <p:spPr>
          <a:xfrm>
            <a:off x="0" y="352964"/>
            <a:ext cx="12192000" cy="983712"/>
          </a:xfrm>
          <a:prstGeom prst="rect">
            <a:avLst/>
          </a:prstGeom>
          <a:solidFill>
            <a:srgbClr val="C2BFE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F49852-4D45-D27C-811A-EA4C62F42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35526"/>
            <a:ext cx="12191999" cy="413576"/>
          </a:xfrm>
        </p:spPr>
        <p:txBody>
          <a:bodyPr/>
          <a:lstStyle/>
          <a:p>
            <a:pPr algn="ctr"/>
            <a:r>
              <a:rPr lang="en-US"/>
              <a:t>Evaluation &amp; Management LOS Recalibration – Process Overvi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5424B0-A68A-7B2A-BFE3-000220BE87E1}"/>
              </a:ext>
            </a:extLst>
          </p:cNvPr>
          <p:cNvSpPr txBox="1"/>
          <p:nvPr/>
        </p:nvSpPr>
        <p:spPr>
          <a:xfrm>
            <a:off x="0" y="949102"/>
            <a:ext cx="121919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Data-driven approach to derive the Allowed LOS</a:t>
            </a:r>
          </a:p>
        </p:txBody>
      </p:sp>
      <p:pic>
        <p:nvPicPr>
          <p:cNvPr id="9" name="Picture 8" descr="A diagram of a process&#10;&#10;AI-generated content may be incorrect.">
            <a:extLst>
              <a:ext uri="{FF2B5EF4-FFF2-40B4-BE49-F238E27FC236}">
                <a16:creationId xmlns:a16="http://schemas.microsoft.com/office/drawing/2014/main" id="{399925AA-8581-096A-A632-F02DB42847E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2" t="21411" r="80000" b="61806"/>
          <a:stretch>
            <a:fillRect/>
          </a:stretch>
        </p:blipFill>
        <p:spPr>
          <a:xfrm>
            <a:off x="323339" y="1683087"/>
            <a:ext cx="1076858" cy="7699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486C-B061-8AF9-F8E8-510D0ECFFEBF}"/>
              </a:ext>
            </a:extLst>
          </p:cNvPr>
          <p:cNvSpPr txBox="1"/>
          <p:nvPr/>
        </p:nvSpPr>
        <p:spPr>
          <a:xfrm>
            <a:off x="123032" y="2490799"/>
            <a:ext cx="149270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RMI Data Exploration</a:t>
            </a:r>
          </a:p>
        </p:txBody>
      </p:sp>
      <p:pic>
        <p:nvPicPr>
          <p:cNvPr id="12" name="Picture 11" descr="A diagram of a process&#10;&#10;AI-generated content may be incorrect.">
            <a:extLst>
              <a:ext uri="{FF2B5EF4-FFF2-40B4-BE49-F238E27FC236}">
                <a16:creationId xmlns:a16="http://schemas.microsoft.com/office/drawing/2014/main" id="{9F8215FF-59AB-B856-75F2-C707EC6986B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92" t="22639" r="50741" b="61389"/>
          <a:stretch>
            <a:fillRect/>
          </a:stretch>
        </p:blipFill>
        <p:spPr>
          <a:xfrm>
            <a:off x="1988300" y="1714433"/>
            <a:ext cx="843603" cy="76995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579B4BF-3413-AE30-AC0C-BA3ABBAF1E38}"/>
              </a:ext>
            </a:extLst>
          </p:cNvPr>
          <p:cNvSpPr txBox="1"/>
          <p:nvPr/>
        </p:nvSpPr>
        <p:spPr>
          <a:xfrm>
            <a:off x="1625131" y="2490799"/>
            <a:ext cx="159549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RMI Data transformation &amp; treatment</a:t>
            </a:r>
          </a:p>
        </p:txBody>
      </p:sp>
      <p:pic>
        <p:nvPicPr>
          <p:cNvPr id="7170" name="Picture 2" descr="Data-Visualization Icons - Free SVG &amp; PNG Data-Visualization ...">
            <a:extLst>
              <a:ext uri="{FF2B5EF4-FFF2-40B4-BE49-F238E27FC236}">
                <a16:creationId xmlns:a16="http://schemas.microsoft.com/office/drawing/2014/main" id="{4A97A2CA-9F77-E579-4173-0561C2B51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2687" y="1738354"/>
            <a:ext cx="812890" cy="812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D887332-EE44-FE12-E4C2-614D060D5544}"/>
              </a:ext>
            </a:extLst>
          </p:cNvPr>
          <p:cNvSpPr txBox="1"/>
          <p:nvPr/>
        </p:nvSpPr>
        <p:spPr>
          <a:xfrm>
            <a:off x="3318516" y="2518903"/>
            <a:ext cx="121418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RMI Data EDA</a:t>
            </a:r>
            <a:br>
              <a:rPr lang="en-US" sz="1100">
                <a:solidFill>
                  <a:srgbClr val="31006F"/>
                </a:solidFill>
              </a:rPr>
            </a:br>
            <a:r>
              <a:rPr lang="en-US" sz="1100">
                <a:solidFill>
                  <a:srgbClr val="31006F"/>
                </a:solidFill>
              </a:rPr>
              <a:t>(Allowed LOS)</a:t>
            </a:r>
            <a:br>
              <a:rPr lang="en-US" sz="1100">
                <a:solidFill>
                  <a:srgbClr val="31006F"/>
                </a:solidFill>
              </a:rPr>
            </a:br>
            <a:r>
              <a:rPr lang="en-US" sz="1100">
                <a:solidFill>
                  <a:srgbClr val="31006F"/>
                </a:solidFill>
              </a:rPr>
              <a:t>Descriptive Analysis</a:t>
            </a:r>
          </a:p>
        </p:txBody>
      </p:sp>
      <p:pic>
        <p:nvPicPr>
          <p:cNvPr id="16" name="Picture 15" descr="A diagram of a process&#10;&#10;AI-generated content may be incorrect.">
            <a:extLst>
              <a:ext uri="{FF2B5EF4-FFF2-40B4-BE49-F238E27FC236}">
                <a16:creationId xmlns:a16="http://schemas.microsoft.com/office/drawing/2014/main" id="{5CE70861-46DE-3656-1561-19C4D084F3D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57" t="22639" r="25463" b="61528"/>
          <a:stretch>
            <a:fillRect/>
          </a:stretch>
        </p:blipFill>
        <p:spPr>
          <a:xfrm>
            <a:off x="5008784" y="1760659"/>
            <a:ext cx="911254" cy="74679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9C68DE9-3BED-367C-4FEB-AD8BEEBFF6BF}"/>
              </a:ext>
            </a:extLst>
          </p:cNvPr>
          <p:cNvSpPr txBox="1"/>
          <p:nvPr/>
        </p:nvSpPr>
        <p:spPr>
          <a:xfrm>
            <a:off x="4923400" y="2518903"/>
            <a:ext cx="107156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Claims Data Preparation</a:t>
            </a:r>
          </a:p>
        </p:txBody>
      </p:sp>
      <p:pic>
        <p:nvPicPr>
          <p:cNvPr id="7172" name="Picture 4" descr="Claims Icon Stock Illustrations – 665 Claims Icon Stock Illustrations,  Vectors &amp; Clipart - Dreamstime">
            <a:extLst>
              <a:ext uri="{FF2B5EF4-FFF2-40B4-BE49-F238E27FC236}">
                <a16:creationId xmlns:a16="http://schemas.microsoft.com/office/drawing/2014/main" id="{8CF204DB-E477-CCBA-4A33-77C03B7955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3" t="19649" r="14583" b="19444"/>
          <a:stretch>
            <a:fillRect/>
          </a:stretch>
        </p:blipFill>
        <p:spPr bwMode="auto">
          <a:xfrm>
            <a:off x="2029349" y="3424823"/>
            <a:ext cx="911254" cy="769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2005923-2DE8-F86C-4EF0-21A71BBCC3D5}"/>
              </a:ext>
            </a:extLst>
          </p:cNvPr>
          <p:cNvSpPr txBox="1"/>
          <p:nvPr/>
        </p:nvSpPr>
        <p:spPr>
          <a:xfrm>
            <a:off x="1949194" y="4264468"/>
            <a:ext cx="107156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Claims Data - Fact line</a:t>
            </a:r>
          </a:p>
        </p:txBody>
      </p:sp>
      <p:pic>
        <p:nvPicPr>
          <p:cNvPr id="19" name="Picture 18" descr="A diagram of a process&#10;&#10;AI-generated content may be incorrect.">
            <a:extLst>
              <a:ext uri="{FF2B5EF4-FFF2-40B4-BE49-F238E27FC236}">
                <a16:creationId xmlns:a16="http://schemas.microsoft.com/office/drawing/2014/main" id="{FAF41EC1-3BB3-2F7C-0CD1-041E38A525B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2" t="21411" r="80000" b="61806"/>
          <a:stretch>
            <a:fillRect/>
          </a:stretch>
        </p:blipFill>
        <p:spPr>
          <a:xfrm>
            <a:off x="3403177" y="3445097"/>
            <a:ext cx="1076858" cy="76995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451F2CE-9657-4877-362B-13B1C9C2BE68}"/>
              </a:ext>
            </a:extLst>
          </p:cNvPr>
          <p:cNvSpPr txBox="1"/>
          <p:nvPr/>
        </p:nvSpPr>
        <p:spPr>
          <a:xfrm>
            <a:off x="3288113" y="4279296"/>
            <a:ext cx="13069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Joining treated </a:t>
            </a:r>
            <a:br>
              <a:rPr lang="en-US" sz="1100">
                <a:solidFill>
                  <a:srgbClr val="31006F"/>
                </a:solidFill>
              </a:rPr>
            </a:br>
            <a:r>
              <a:rPr lang="en-US" sz="1100">
                <a:solidFill>
                  <a:srgbClr val="31006F"/>
                </a:solidFill>
              </a:rPr>
              <a:t>RMI Data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C88E84A-E031-A68F-85B2-CD508F8B4944}"/>
              </a:ext>
            </a:extLst>
          </p:cNvPr>
          <p:cNvGrpSpPr/>
          <p:nvPr/>
        </p:nvGrpSpPr>
        <p:grpSpPr>
          <a:xfrm>
            <a:off x="4862455" y="3453307"/>
            <a:ext cx="1000895" cy="761744"/>
            <a:chOff x="8653029" y="3720787"/>
            <a:chExt cx="1195336" cy="909725"/>
          </a:xfrm>
        </p:grpSpPr>
        <p:pic>
          <p:nvPicPr>
            <p:cNvPr id="7174" name="Picture 6" descr="SEEBURGER: HDFS Integration | Enable Big Data With File Operations">
              <a:extLst>
                <a:ext uri="{FF2B5EF4-FFF2-40B4-BE49-F238E27FC236}">
                  <a16:creationId xmlns:a16="http://schemas.microsoft.com/office/drawing/2014/main" id="{C74ACC38-A9A5-61F1-F7B8-7EC4EBD71F4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89" t="34861" r="13359" b="35238"/>
            <a:stretch>
              <a:fillRect/>
            </a:stretch>
          </p:blipFill>
          <p:spPr bwMode="auto">
            <a:xfrm>
              <a:off x="8653029" y="4333774"/>
              <a:ext cx="1195336" cy="296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8" name="Picture 10" descr="Database Vector Illustration On Transparent Backgroundpremium Stock Vector  (Royalty Free) 2185842251 | Shutterstock">
              <a:extLst>
                <a:ext uri="{FF2B5EF4-FFF2-40B4-BE49-F238E27FC236}">
                  <a16:creationId xmlns:a16="http://schemas.microsoft.com/office/drawing/2014/main" id="{4A48273A-E256-5745-5919-22D95C1A00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13"/>
            <a:stretch>
              <a:fillRect/>
            </a:stretch>
          </p:blipFill>
          <p:spPr bwMode="auto">
            <a:xfrm>
              <a:off x="8990576" y="3720787"/>
              <a:ext cx="618911" cy="671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DB0BC94-0FC0-14ED-A14A-56D788267E5B}"/>
              </a:ext>
            </a:extLst>
          </p:cNvPr>
          <p:cNvSpPr txBox="1"/>
          <p:nvPr/>
        </p:nvSpPr>
        <p:spPr>
          <a:xfrm>
            <a:off x="4723252" y="4279296"/>
            <a:ext cx="13069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Creating a table in Hiv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02C258A-CD0B-6A6A-0A1C-3AFE1ACA876A}"/>
              </a:ext>
            </a:extLst>
          </p:cNvPr>
          <p:cNvSpPr/>
          <p:nvPr/>
        </p:nvSpPr>
        <p:spPr>
          <a:xfrm>
            <a:off x="1724403" y="4887568"/>
            <a:ext cx="4454382" cy="1292240"/>
          </a:xfrm>
          <a:prstGeom prst="roundRect">
            <a:avLst/>
          </a:prstGeom>
          <a:solidFill>
            <a:srgbClr val="F2F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0A8928A3-DC12-E652-A27B-B490E6D07C95}"/>
              </a:ext>
            </a:extLst>
          </p:cNvPr>
          <p:cNvSpPr/>
          <p:nvPr/>
        </p:nvSpPr>
        <p:spPr>
          <a:xfrm>
            <a:off x="1486953" y="1991327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2C9323D-1514-6C69-256A-FEA9F3FC22EA}"/>
              </a:ext>
            </a:extLst>
          </p:cNvPr>
          <p:cNvSpPr/>
          <p:nvPr/>
        </p:nvSpPr>
        <p:spPr>
          <a:xfrm>
            <a:off x="3096949" y="1991327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BB6E7C95-CF0F-EC09-3A78-B893E63B9EF2}"/>
              </a:ext>
            </a:extLst>
          </p:cNvPr>
          <p:cNvSpPr/>
          <p:nvPr/>
        </p:nvSpPr>
        <p:spPr>
          <a:xfrm>
            <a:off x="4670967" y="1991327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26243E8-AE5C-5EBD-4DAF-B01D3ECFF4D1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3055905" y="3830074"/>
            <a:ext cx="347272" cy="4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77EA4A4-1598-F8B3-36FE-6936D6CC006B}"/>
              </a:ext>
            </a:extLst>
          </p:cNvPr>
          <p:cNvCxnSpPr>
            <a:cxnSpLocks/>
          </p:cNvCxnSpPr>
          <p:nvPr/>
        </p:nvCxnSpPr>
        <p:spPr>
          <a:xfrm flipV="1">
            <a:off x="4480035" y="3830073"/>
            <a:ext cx="347272" cy="4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758B1CE-32BB-3862-D5BF-1327C3D0239E}"/>
              </a:ext>
            </a:extLst>
          </p:cNvPr>
          <p:cNvSpPr/>
          <p:nvPr/>
        </p:nvSpPr>
        <p:spPr>
          <a:xfrm rot="5400000">
            <a:off x="5335947" y="3058196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22703947-2D82-933D-280B-30EBB3E39402}"/>
              </a:ext>
            </a:extLst>
          </p:cNvPr>
          <p:cNvSpPr/>
          <p:nvPr/>
        </p:nvSpPr>
        <p:spPr>
          <a:xfrm>
            <a:off x="6179290" y="1980586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 descr="A diagram of a process&#10;&#10;AI-generated content may be incorrect.">
            <a:extLst>
              <a:ext uri="{FF2B5EF4-FFF2-40B4-BE49-F238E27FC236}">
                <a16:creationId xmlns:a16="http://schemas.microsoft.com/office/drawing/2014/main" id="{60B0EFDD-1681-6A89-5C2C-BE9610F0290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72" t="20802" r="3518" b="61737"/>
          <a:stretch>
            <a:fillRect/>
          </a:stretch>
        </p:blipFill>
        <p:spPr>
          <a:xfrm>
            <a:off x="6664249" y="1660220"/>
            <a:ext cx="932321" cy="847238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A28B35C9-CEE0-890D-DD85-19BC8109852F}"/>
              </a:ext>
            </a:extLst>
          </p:cNvPr>
          <p:cNvSpPr txBox="1"/>
          <p:nvPr/>
        </p:nvSpPr>
        <p:spPr>
          <a:xfrm>
            <a:off x="6345902" y="2551244"/>
            <a:ext cx="151861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Claims Data EDA</a:t>
            </a:r>
            <a:br>
              <a:rPr lang="en-US" sz="1100">
                <a:solidFill>
                  <a:srgbClr val="31006F"/>
                </a:solidFill>
              </a:rPr>
            </a:br>
            <a:r>
              <a:rPr lang="en-US" sz="1100">
                <a:solidFill>
                  <a:srgbClr val="31006F"/>
                </a:solidFill>
              </a:rPr>
              <a:t>(Billed LOS) </a:t>
            </a:r>
            <a:br>
              <a:rPr lang="en-US" sz="1100">
                <a:solidFill>
                  <a:srgbClr val="31006F"/>
                </a:solidFill>
              </a:rPr>
            </a:br>
            <a:r>
              <a:rPr lang="en-US" sz="1100">
                <a:solidFill>
                  <a:srgbClr val="31006F"/>
                </a:solidFill>
              </a:rPr>
              <a:t>Descriptive Analysis</a:t>
            </a: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777D59E6-D6C5-C685-3E14-D273F98A46E7}"/>
              </a:ext>
            </a:extLst>
          </p:cNvPr>
          <p:cNvSpPr/>
          <p:nvPr/>
        </p:nvSpPr>
        <p:spPr>
          <a:xfrm>
            <a:off x="7686372" y="1980586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 descr="A diagram of a process&#10;&#10;AI-generated content may be incorrect.">
            <a:extLst>
              <a:ext uri="{FF2B5EF4-FFF2-40B4-BE49-F238E27FC236}">
                <a16:creationId xmlns:a16="http://schemas.microsoft.com/office/drawing/2014/main" id="{00D53961-E447-433E-EB3B-4D553AB6338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22" t="60814" r="3653" b="22615"/>
          <a:stretch>
            <a:fillRect/>
          </a:stretch>
        </p:blipFill>
        <p:spPr>
          <a:xfrm>
            <a:off x="8059022" y="1716564"/>
            <a:ext cx="952921" cy="847239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55EDC434-855C-5944-CDBC-2E1BAEE9C66A}"/>
              </a:ext>
            </a:extLst>
          </p:cNvPr>
          <p:cNvSpPr txBox="1"/>
          <p:nvPr/>
        </p:nvSpPr>
        <p:spPr>
          <a:xfrm>
            <a:off x="7826169" y="2563803"/>
            <a:ext cx="141862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Predictive Analysis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F2B44748-13A8-2AE0-CE7F-31E2BA20168D}"/>
              </a:ext>
            </a:extLst>
          </p:cNvPr>
          <p:cNvSpPr/>
          <p:nvPr/>
        </p:nvSpPr>
        <p:spPr>
          <a:xfrm>
            <a:off x="9182530" y="1980586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44" descr="A diagram of a process&#10;&#10;AI-generated content may be incorrect.">
            <a:extLst>
              <a:ext uri="{FF2B5EF4-FFF2-40B4-BE49-F238E27FC236}">
                <a16:creationId xmlns:a16="http://schemas.microsoft.com/office/drawing/2014/main" id="{C1CA0F92-1EAD-B167-869F-9BCCF8B156D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04" t="61877" r="26133" b="23148"/>
          <a:stretch>
            <a:fillRect/>
          </a:stretch>
        </p:blipFill>
        <p:spPr>
          <a:xfrm>
            <a:off x="9577813" y="1738354"/>
            <a:ext cx="794676" cy="85643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E19186D-BC2E-8345-067B-B7C9A01D71A9}"/>
              </a:ext>
            </a:extLst>
          </p:cNvPr>
          <p:cNvSpPr txBox="1"/>
          <p:nvPr/>
        </p:nvSpPr>
        <p:spPr>
          <a:xfrm>
            <a:off x="9249907" y="2575437"/>
            <a:ext cx="131696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Model Validation</a:t>
            </a:r>
          </a:p>
          <a:p>
            <a:pPr algn="ctr"/>
            <a:r>
              <a:rPr lang="en-US" sz="1100">
                <a:solidFill>
                  <a:srgbClr val="31006F"/>
                </a:solidFill>
              </a:rPr>
              <a:t>&amp; SME check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992CABD6-EF93-CAEA-3041-8410C76210D6}"/>
              </a:ext>
            </a:extLst>
          </p:cNvPr>
          <p:cNvSpPr/>
          <p:nvPr/>
        </p:nvSpPr>
        <p:spPr>
          <a:xfrm>
            <a:off x="10521303" y="2034313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48" descr="A diagram of a process&#10;&#10;AI-generated content may be incorrect.">
            <a:extLst>
              <a:ext uri="{FF2B5EF4-FFF2-40B4-BE49-F238E27FC236}">
                <a16:creationId xmlns:a16="http://schemas.microsoft.com/office/drawing/2014/main" id="{E1146723-0DBB-F210-A782-686E5F98325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59" t="62278" r="45398" b="23148"/>
          <a:stretch>
            <a:fillRect/>
          </a:stretch>
        </p:blipFill>
        <p:spPr>
          <a:xfrm>
            <a:off x="10983580" y="1774137"/>
            <a:ext cx="867629" cy="856432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CC28C155-28E0-87A8-081C-AE00DB3253FB}"/>
              </a:ext>
            </a:extLst>
          </p:cNvPr>
          <p:cNvSpPr txBox="1"/>
          <p:nvPr/>
        </p:nvSpPr>
        <p:spPr>
          <a:xfrm>
            <a:off x="10702755" y="2664939"/>
            <a:ext cx="131696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Prescriptive Analysis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256C038E-2A89-6EF6-0AF1-63C37503DAAF}"/>
              </a:ext>
            </a:extLst>
          </p:cNvPr>
          <p:cNvSpPr/>
          <p:nvPr/>
        </p:nvSpPr>
        <p:spPr>
          <a:xfrm rot="5400000">
            <a:off x="11238002" y="3304666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80" name="Picture 12" descr="Data Value, Data, Validation Outline Icon 59379205 Vector Art at Vecteezy">
            <a:extLst>
              <a:ext uri="{FF2B5EF4-FFF2-40B4-BE49-F238E27FC236}">
                <a16:creationId xmlns:a16="http://schemas.microsoft.com/office/drawing/2014/main" id="{2DDAF522-44B8-C1C4-8946-31327A13BE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5319" y="3666978"/>
            <a:ext cx="769482" cy="76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0E574142-6EE5-85A5-3857-A2842FCA69CA}"/>
              </a:ext>
            </a:extLst>
          </p:cNvPr>
          <p:cNvSpPr txBox="1"/>
          <p:nvPr/>
        </p:nvSpPr>
        <p:spPr>
          <a:xfrm>
            <a:off x="10758913" y="4495428"/>
            <a:ext cx="131696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Data &amp; Model Validation</a:t>
            </a:r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03ACC483-14DA-A554-9F86-257B13FAC584}"/>
              </a:ext>
            </a:extLst>
          </p:cNvPr>
          <p:cNvSpPr/>
          <p:nvPr/>
        </p:nvSpPr>
        <p:spPr>
          <a:xfrm rot="10800000">
            <a:off x="10521302" y="4040233"/>
            <a:ext cx="246469" cy="15347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4AA5B92-BE35-A749-16EC-5FB19D47EB8A}"/>
              </a:ext>
            </a:extLst>
          </p:cNvPr>
          <p:cNvSpPr txBox="1"/>
          <p:nvPr/>
        </p:nvSpPr>
        <p:spPr>
          <a:xfrm>
            <a:off x="9203284" y="4479911"/>
            <a:ext cx="152297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rgbClr val="31006F"/>
                </a:solidFill>
              </a:rPr>
              <a:t>Production release &amp; </a:t>
            </a:r>
            <a:r>
              <a:rPr lang="en-US" sz="1100"/>
              <a:t>M</a:t>
            </a:r>
            <a:r>
              <a:rPr lang="en-US" sz="1100">
                <a:solidFill>
                  <a:srgbClr val="31006F"/>
                </a:solidFill>
              </a:rPr>
              <a:t>aintenanc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5DE0A33-9A03-AB84-0CE4-741B54120893}"/>
              </a:ext>
            </a:extLst>
          </p:cNvPr>
          <p:cNvSpPr txBox="1"/>
          <p:nvPr/>
        </p:nvSpPr>
        <p:spPr>
          <a:xfrm>
            <a:off x="1789962" y="5080075"/>
            <a:ext cx="438882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31006F"/>
                </a:solidFill>
              </a:rPr>
              <a:t>Faced Challenges in preparing Claims data for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31006F"/>
                </a:solidFill>
              </a:rPr>
              <a:t>Complex process to integrate the allowed and billed LOS in Claims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31006F"/>
                </a:solidFill>
              </a:rPr>
              <a:t>Demanded the creating of custom base table for allowed LOS and then join the required data points</a:t>
            </a:r>
          </a:p>
        </p:txBody>
      </p:sp>
    </p:spTree>
    <p:extLst>
      <p:ext uri="{BB962C8B-B14F-4D97-AF65-F5344CB8AC3E}">
        <p14:creationId xmlns:p14="http://schemas.microsoft.com/office/powerpoint/2010/main" val="1555668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B8C4F-B1DD-D13C-FD27-C28220CCD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0F68FA-B177-EAA9-D6F5-F7B172A08881}"/>
              </a:ext>
            </a:extLst>
          </p:cNvPr>
          <p:cNvSpPr/>
          <p:nvPr/>
        </p:nvSpPr>
        <p:spPr>
          <a:xfrm>
            <a:off x="3860800" y="3924299"/>
            <a:ext cx="8338706" cy="1985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9CB5FA-5052-75B0-B9B2-65410CE542A9}"/>
              </a:ext>
            </a:extLst>
          </p:cNvPr>
          <p:cNvSpPr/>
          <p:nvPr/>
        </p:nvSpPr>
        <p:spPr>
          <a:xfrm>
            <a:off x="0" y="763932"/>
            <a:ext cx="12192000" cy="253171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BE5710-46CA-A18F-7B1F-61750AD6E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4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1818F5-397E-4AE6-BAC1-54162DB0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27" y="338111"/>
            <a:ext cx="5615673" cy="508000"/>
          </a:xfrm>
        </p:spPr>
        <p:txBody>
          <a:bodyPr/>
          <a:lstStyle/>
          <a:p>
            <a:r>
              <a:rPr lang="en-US" sz="2400"/>
              <a:t>Data Overview</a:t>
            </a:r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3EE6384A-18AF-B4AD-0392-5E15B4B128F6}"/>
              </a:ext>
            </a:extLst>
          </p:cNvPr>
          <p:cNvSpPr txBox="1">
            <a:spLocks/>
          </p:cNvSpPr>
          <p:nvPr/>
        </p:nvSpPr>
        <p:spPr>
          <a:xfrm>
            <a:off x="8700014" y="948421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6A89B1-1F1B-973E-56A9-0B1DDC4D06B5}"/>
              </a:ext>
            </a:extLst>
          </p:cNvPr>
          <p:cNvSpPr txBox="1"/>
          <p:nvPr/>
        </p:nvSpPr>
        <p:spPr>
          <a:xfrm>
            <a:off x="235613" y="4117914"/>
            <a:ext cx="3478119" cy="15928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Source: RMI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Date: 08/25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Size: 184k rows &amp; 27 columns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LOS Range: 2-5</a:t>
            </a:r>
          </a:p>
          <a:p>
            <a:pPr algn="l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83466F-3A10-F1C8-2457-801B7CECCA6D}"/>
              </a:ext>
            </a:extLst>
          </p:cNvPr>
          <p:cNvSpPr txBox="1"/>
          <p:nvPr/>
        </p:nvSpPr>
        <p:spPr>
          <a:xfrm>
            <a:off x="594514" y="2300065"/>
            <a:ext cx="1943178" cy="637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/>
              <a:t>Existing E&amp;M LOS Data from RM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87BBB0-7FB1-8C4E-EE83-3F2D899E1EC5}"/>
              </a:ext>
            </a:extLst>
          </p:cNvPr>
          <p:cNvSpPr txBox="1"/>
          <p:nvPr/>
        </p:nvSpPr>
        <p:spPr>
          <a:xfrm>
            <a:off x="3288163" y="2238917"/>
            <a:ext cx="2162175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/>
              <a:t>Data transformation:  </a:t>
            </a:r>
            <a:r>
              <a:rPr lang="en-US" sz="1400"/>
              <a:t>standardize raw inputs into an analysis-ready forma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3A273E-FC66-93BE-EE6B-F6806C2F80C9}"/>
              </a:ext>
            </a:extLst>
          </p:cNvPr>
          <p:cNvSpPr txBox="1"/>
          <p:nvPr/>
        </p:nvSpPr>
        <p:spPr>
          <a:xfrm>
            <a:off x="6288541" y="2238917"/>
            <a:ext cx="210573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/>
              <a:t>Explore current LOS data to understand LOS by Procedure and IC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6F712BF-C799-C570-17D2-3577E1EF6D84}"/>
              </a:ext>
            </a:extLst>
          </p:cNvPr>
          <p:cNvSpPr txBox="1"/>
          <p:nvPr/>
        </p:nvSpPr>
        <p:spPr>
          <a:xfrm>
            <a:off x="9398512" y="2269490"/>
            <a:ext cx="203000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/>
              <a:t>Analyze Claims data such as billed LOS, adjustments, etc.  to standardize the LOS 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67E1C28E-F6DA-CB9E-8654-A2F38BB00914}"/>
              </a:ext>
            </a:extLst>
          </p:cNvPr>
          <p:cNvSpPr/>
          <p:nvPr/>
        </p:nvSpPr>
        <p:spPr>
          <a:xfrm>
            <a:off x="2612887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2AC6C558-68CB-9277-4FD0-44A96B609A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06" y="1047560"/>
            <a:ext cx="954867" cy="954867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2C62901-8D5D-C6DA-A52B-5C89216CBD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443" y="1049744"/>
            <a:ext cx="954867" cy="954867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31E9181C-6A18-7408-98C8-2B37829D93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866" y="1039461"/>
            <a:ext cx="954867" cy="954867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0DC8DF0B-A5A5-6F8A-13FD-57E1B916C6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081" y="1061677"/>
            <a:ext cx="954867" cy="954867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8822E131-CF05-A5D3-B7C9-4EF6EB9CBEE0}"/>
              </a:ext>
            </a:extLst>
          </p:cNvPr>
          <p:cNvSpPr/>
          <p:nvPr/>
        </p:nvSpPr>
        <p:spPr>
          <a:xfrm>
            <a:off x="5515684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1ECB1142-E9DE-433D-035F-E75AE01790CD}"/>
              </a:ext>
            </a:extLst>
          </p:cNvPr>
          <p:cNvSpPr/>
          <p:nvPr/>
        </p:nvSpPr>
        <p:spPr>
          <a:xfrm>
            <a:off x="8601503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139DAD-FABC-8EF3-5A25-BEFB2923F7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7157"/>
          <a:stretch>
            <a:fillRect/>
          </a:stretch>
        </p:blipFill>
        <p:spPr>
          <a:xfrm>
            <a:off x="3980201" y="4040607"/>
            <a:ext cx="8206605" cy="174741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579673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832CD7C-A7C4-D1D6-E7DE-32384A52CCC8}"/>
              </a:ext>
            </a:extLst>
          </p:cNvPr>
          <p:cNvSpPr/>
          <p:nvPr/>
        </p:nvSpPr>
        <p:spPr>
          <a:xfrm>
            <a:off x="0" y="642938"/>
            <a:ext cx="12192000" cy="1359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FEC4D6-B411-4F28-F390-463D5DC94886}"/>
              </a:ext>
            </a:extLst>
          </p:cNvPr>
          <p:cNvSpPr/>
          <p:nvPr/>
        </p:nvSpPr>
        <p:spPr>
          <a:xfrm>
            <a:off x="3917951" y="2912498"/>
            <a:ext cx="4125912" cy="3340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A365B0E-8964-4EDD-1795-23D2F1068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5</a:t>
            </a:fld>
            <a:endParaRPr lang="en-US"/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DAB3D0A8-A595-925A-1089-A673307CD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7411" y="211702"/>
            <a:ext cx="3506340" cy="508000"/>
          </a:xfrm>
        </p:spPr>
        <p:txBody>
          <a:bodyPr/>
          <a:lstStyle/>
          <a:p>
            <a:pPr algn="ctr"/>
            <a:r>
              <a:rPr lang="en-US" sz="2400"/>
              <a:t>Data Transformation</a:t>
            </a:r>
            <a:endParaRPr lang="en-US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139023BB-3B29-05D5-9684-CB3AA027635B}"/>
              </a:ext>
            </a:extLst>
          </p:cNvPr>
          <p:cNvSpPr/>
          <p:nvPr/>
        </p:nvSpPr>
        <p:spPr>
          <a:xfrm rot="5400000">
            <a:off x="5729208" y="2231090"/>
            <a:ext cx="542745" cy="45295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FC4581-0E73-F287-7A8B-023606BF731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0368"/>
          <a:stretch>
            <a:fillRect/>
          </a:stretch>
        </p:blipFill>
        <p:spPr>
          <a:xfrm>
            <a:off x="3995796" y="3005845"/>
            <a:ext cx="3970222" cy="31615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4D44DA-1F48-361B-35A4-30D728AA111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42346"/>
          <a:stretch>
            <a:fillRect/>
          </a:stretch>
        </p:blipFill>
        <p:spPr>
          <a:xfrm>
            <a:off x="0" y="751055"/>
            <a:ext cx="12192000" cy="11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54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58E67-260B-206F-E621-20F940DC2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3D322D-E5F9-8A4A-961A-28834BF85D87}"/>
              </a:ext>
            </a:extLst>
          </p:cNvPr>
          <p:cNvSpPr/>
          <p:nvPr/>
        </p:nvSpPr>
        <p:spPr>
          <a:xfrm>
            <a:off x="0" y="165099"/>
            <a:ext cx="5745330" cy="380219"/>
          </a:xfrm>
          <a:prstGeom prst="rect">
            <a:avLst/>
          </a:prstGeom>
          <a:solidFill>
            <a:srgbClr val="E3DE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79C324-061C-D0C7-5854-4BEBCA073C37}"/>
              </a:ext>
            </a:extLst>
          </p:cNvPr>
          <p:cNvSpPr/>
          <p:nvPr/>
        </p:nvSpPr>
        <p:spPr>
          <a:xfrm>
            <a:off x="5745330" y="165100"/>
            <a:ext cx="6446670" cy="380219"/>
          </a:xfrm>
          <a:prstGeom prst="rect">
            <a:avLst/>
          </a:prstGeom>
          <a:solidFill>
            <a:srgbClr val="F2F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858B3E-C9F2-E57F-0915-5A302F442635}"/>
              </a:ext>
            </a:extLst>
          </p:cNvPr>
          <p:cNvSpPr/>
          <p:nvPr/>
        </p:nvSpPr>
        <p:spPr>
          <a:xfrm>
            <a:off x="0" y="1"/>
            <a:ext cx="5745330" cy="6477000"/>
          </a:xfrm>
          <a:prstGeom prst="rect">
            <a:avLst/>
          </a:pr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5E0F6E-0535-18E8-6DC1-6AF7D428C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6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6FF5DD3-C6AC-F012-51D1-25399080F1D5}"/>
              </a:ext>
            </a:extLst>
          </p:cNvPr>
          <p:cNvGraphicFramePr>
            <a:graphicFrameLocks/>
          </p:cNvGraphicFramePr>
          <p:nvPr/>
        </p:nvGraphicFramePr>
        <p:xfrm>
          <a:off x="1032622" y="498369"/>
          <a:ext cx="3553848" cy="3663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D65BFC5E-9DE4-6C0B-30CE-8E12084F8C69}"/>
              </a:ext>
            </a:extLst>
          </p:cNvPr>
          <p:cNvGraphicFramePr>
            <a:graphicFrameLocks/>
          </p:cNvGraphicFramePr>
          <p:nvPr/>
        </p:nvGraphicFramePr>
        <p:xfrm>
          <a:off x="6209798" y="788027"/>
          <a:ext cx="5382127" cy="391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 1">
            <a:extLst>
              <a:ext uri="{FF2B5EF4-FFF2-40B4-BE49-F238E27FC236}">
                <a16:creationId xmlns:a16="http://schemas.microsoft.com/office/drawing/2014/main" id="{5BFFD093-030C-832E-4A9D-922D1F097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7126" y="4835251"/>
            <a:ext cx="5544799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Outpatient (and partly Inpatient/New Patient) is associated with higher LOS, </a:t>
            </a:r>
            <a:r>
              <a:rPr lang="en-US" altLang="en-US" sz="1200" b="1"/>
              <a:t>L4, L5</a:t>
            </a:r>
            <a:r>
              <a:rPr lang="en-US" altLang="en-US" sz="1200"/>
              <a:t> 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less adjust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Transitional Care, Observation and Eye Exam are concentrated in</a:t>
            </a:r>
            <a:r>
              <a:rPr lang="en-US" altLang="en-US" sz="1200" b="1"/>
              <a:t> L2.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high adjustment</a:t>
            </a:r>
          </a:p>
          <a:p>
            <a:pPr marL="285750" marR="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200"/>
              <a:t>Established Care are majorly lower-level LOS allowed </a:t>
            </a:r>
            <a:r>
              <a:rPr lang="en-US" altLang="en-US" sz="1200" b="1"/>
              <a:t>L3 -&gt;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moderate adjustment</a:t>
            </a:r>
            <a:endParaRPr lang="en-US" altLang="en-US" sz="1200" b="1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Title 3">
            <a:extLst>
              <a:ext uri="{FF2B5EF4-FFF2-40B4-BE49-F238E27FC236}">
                <a16:creationId xmlns:a16="http://schemas.microsoft.com/office/drawing/2014/main" id="{D208A027-6639-82BA-2430-F0BA4CACE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863" y="292949"/>
            <a:ext cx="5219198" cy="380219"/>
          </a:xfrm>
        </p:spPr>
        <p:txBody>
          <a:bodyPr/>
          <a:lstStyle/>
          <a:p>
            <a:pPr algn="ctr"/>
            <a:r>
              <a:rPr lang="en-US" sz="1400">
                <a:ea typeface="+mj-lt"/>
                <a:cs typeface="+mj-lt"/>
              </a:rPr>
              <a:t>Set Allowed Levels by Family: What Actually Occurs</a:t>
            </a:r>
            <a:endParaRPr lang="en-US" sz="1400"/>
          </a:p>
        </p:txBody>
      </p:sp>
      <p:sp>
        <p:nvSpPr>
          <p:cNvPr id="42" name="Title 3">
            <a:extLst>
              <a:ext uri="{FF2B5EF4-FFF2-40B4-BE49-F238E27FC236}">
                <a16:creationId xmlns:a16="http://schemas.microsoft.com/office/drawing/2014/main" id="{F06A01E6-FE07-A6E6-BD35-9722E8BC7D4F}"/>
              </a:ext>
            </a:extLst>
          </p:cNvPr>
          <p:cNvSpPr txBox="1">
            <a:spLocks/>
          </p:cNvSpPr>
          <p:nvPr/>
        </p:nvSpPr>
        <p:spPr>
          <a:xfrm>
            <a:off x="745830" y="285968"/>
            <a:ext cx="4999500" cy="464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>
                <a:ea typeface="+mj-lt"/>
                <a:cs typeface="+mj-lt"/>
              </a:rPr>
              <a:t>Baseline LOS Mix: What’s Typical vs. Ra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BD61A7E-D8C3-0A70-00AA-6636AEDB97A9}"/>
              </a:ext>
            </a:extLst>
          </p:cNvPr>
          <p:cNvGrpSpPr/>
          <p:nvPr/>
        </p:nvGrpSpPr>
        <p:grpSpPr>
          <a:xfrm>
            <a:off x="437197" y="4680711"/>
            <a:ext cx="4784112" cy="1254799"/>
            <a:chOff x="90775" y="5061527"/>
            <a:chExt cx="4784112" cy="125479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B2C61CB-030A-1E7D-AA19-8FC7478350EE}"/>
                </a:ext>
              </a:extLst>
            </p:cNvPr>
            <p:cNvGrpSpPr/>
            <p:nvPr/>
          </p:nvGrpSpPr>
          <p:grpSpPr>
            <a:xfrm>
              <a:off x="90775" y="5061527"/>
              <a:ext cx="4784112" cy="1254799"/>
              <a:chOff x="5997206" y="2834235"/>
              <a:chExt cx="5957685" cy="1916286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3F59CCC8-0137-2680-CEE9-799BF72D7FA1}"/>
                  </a:ext>
                </a:extLst>
              </p:cNvPr>
              <p:cNvSpPr/>
              <p:nvPr/>
            </p:nvSpPr>
            <p:spPr>
              <a:xfrm>
                <a:off x="5997206" y="2834236"/>
                <a:ext cx="176650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8DAF7F31-8BCD-284E-C36E-BF801FA6A4CD}"/>
                  </a:ext>
                </a:extLst>
              </p:cNvPr>
              <p:cNvSpPr/>
              <p:nvPr/>
            </p:nvSpPr>
            <p:spPr>
              <a:xfrm>
                <a:off x="8093024" y="2837420"/>
                <a:ext cx="1794049" cy="1725078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" name="Graphic 12" descr="Bar graph with upward trend with solid fill">
                <a:extLst>
                  <a:ext uri="{FF2B5EF4-FFF2-40B4-BE49-F238E27FC236}">
                    <a16:creationId xmlns:a16="http://schemas.microsoft.com/office/drawing/2014/main" id="{6F421A0C-3F8C-2C6D-DECA-6BB54E6D6E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581612" y="3537683"/>
                <a:ext cx="618387" cy="600026"/>
              </a:xfrm>
              <a:prstGeom prst="rect">
                <a:avLst/>
              </a:prstGeom>
            </p:spPr>
          </p:pic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DB99DA0B-4016-38A9-1B20-E05856940472}"/>
                  </a:ext>
                </a:extLst>
              </p:cNvPr>
              <p:cNvSpPr/>
              <p:nvPr/>
            </p:nvSpPr>
            <p:spPr>
              <a:xfrm>
                <a:off x="10165433" y="2834235"/>
                <a:ext cx="178486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8F0347F-A76C-03D7-40EB-ACD2194814FC}"/>
                  </a:ext>
                </a:extLst>
              </p:cNvPr>
              <p:cNvSpPr txBox="1"/>
              <p:nvPr/>
            </p:nvSpPr>
            <p:spPr>
              <a:xfrm>
                <a:off x="5997206" y="3002030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900" b="1"/>
                  <a:t>LOS 2-3</a:t>
                </a:r>
                <a:br>
                  <a:rPr lang="en-US" sz="900" b="1"/>
                </a:br>
                <a:r>
                  <a:rPr lang="en-US" sz="1050" b="1"/>
                  <a:t>80%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4E2613A-5F32-F263-638A-BB796C1E9BE0}"/>
                  </a:ext>
                </a:extLst>
              </p:cNvPr>
              <p:cNvSpPr txBox="1"/>
              <p:nvPr/>
            </p:nvSpPr>
            <p:spPr>
              <a:xfrm>
                <a:off x="6000077" y="4109442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/>
                  <a:t>Lower allowed</a:t>
                </a:r>
              </a:p>
              <a:p>
                <a:pPr algn="ctr"/>
                <a:r>
                  <a:rPr lang="en-US" sz="800" b="1"/>
                  <a:t>LOS</a:t>
                </a:r>
              </a:p>
            </p:txBody>
          </p:sp>
          <p:pic>
            <p:nvPicPr>
              <p:cNvPr id="21" name="Picture 20" descr="A purple line drawing of a piece of paper and a pen&#10;&#10;AI-generated content may be incorrect.">
                <a:extLst>
                  <a:ext uri="{FF2B5EF4-FFF2-40B4-BE49-F238E27FC236}">
                    <a16:creationId xmlns:a16="http://schemas.microsoft.com/office/drawing/2014/main" id="{12F63B51-CCCC-6BEB-73AF-C1BF5AF9D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44530" y="3574686"/>
                <a:ext cx="519801" cy="556524"/>
              </a:xfrm>
              <a:prstGeom prst="rect">
                <a:avLst/>
              </a:prstGeom>
            </p:spPr>
          </p:pic>
          <p:pic>
            <p:nvPicPr>
              <p:cNvPr id="27" name="Graphic 26" descr="Close with solid fill">
                <a:extLst>
                  <a:ext uri="{FF2B5EF4-FFF2-40B4-BE49-F238E27FC236}">
                    <a16:creationId xmlns:a16="http://schemas.microsoft.com/office/drawing/2014/main" id="{BC979B08-9064-8A52-8775-E1F8F0A21C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30230" y="3599907"/>
                <a:ext cx="455270" cy="509533"/>
              </a:xfrm>
              <a:prstGeom prst="rect">
                <a:avLst/>
              </a:prstGeom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D50D8F0-4402-2C46-64A4-72DC9843ED55}"/>
                  </a:ext>
                </a:extLst>
              </p:cNvPr>
              <p:cNvSpPr txBox="1"/>
              <p:nvPr/>
            </p:nvSpPr>
            <p:spPr>
              <a:xfrm>
                <a:off x="10160842" y="4042251"/>
                <a:ext cx="1794049" cy="6410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/>
                  <a:t>Obsolete</a:t>
                </a:r>
              </a:p>
              <a:p>
                <a:pPr algn="ctr"/>
                <a:r>
                  <a:rPr lang="en-US" sz="800" b="1"/>
                  <a:t> Zone</a:t>
                </a:r>
                <a:br>
                  <a:rPr lang="en-US" sz="800" b="1"/>
                </a:br>
                <a:endParaRPr lang="en-US" sz="800" b="1"/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1C32B7F-C501-67A5-FD41-6E91FF050AF7}"/>
                </a:ext>
              </a:extLst>
            </p:cNvPr>
            <p:cNvSpPr txBox="1"/>
            <p:nvPr/>
          </p:nvSpPr>
          <p:spPr>
            <a:xfrm>
              <a:off x="1766378" y="5162907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/>
                <a:t>LOS 4-5</a:t>
              </a:r>
              <a:br>
                <a:rPr lang="en-US" sz="900" b="1"/>
              </a:br>
              <a:r>
                <a:rPr lang="en-US" sz="1050" b="1"/>
                <a:t>20%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A9027FC-4012-9565-1269-CEBD51161829}"/>
                </a:ext>
              </a:extLst>
            </p:cNvPr>
            <p:cNvSpPr txBox="1"/>
            <p:nvPr/>
          </p:nvSpPr>
          <p:spPr>
            <a:xfrm>
              <a:off x="1751325" y="5896541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800" b="1"/>
                <a:t>Higher allowed</a:t>
              </a:r>
            </a:p>
            <a:p>
              <a:pPr algn="ctr"/>
              <a:r>
                <a:rPr lang="en-US" sz="800" b="1"/>
                <a:t>LO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4DF69C1-8CE0-F13B-A823-B5C540F2F52C}"/>
                </a:ext>
              </a:extLst>
            </p:cNvPr>
            <p:cNvSpPr txBox="1"/>
            <p:nvPr/>
          </p:nvSpPr>
          <p:spPr>
            <a:xfrm>
              <a:off x="3422891" y="5157029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/>
                <a:t>LOS 4-5</a:t>
              </a:r>
              <a:br>
                <a:rPr lang="en-US" sz="900" b="1"/>
              </a:br>
              <a:r>
                <a:rPr lang="en-US" sz="1050" b="1"/>
                <a:t>0%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76C4FBFE-A4EB-259A-AFEA-6C88E35D5439}"/>
              </a:ext>
            </a:extLst>
          </p:cNvPr>
          <p:cNvSpPr/>
          <p:nvPr/>
        </p:nvSpPr>
        <p:spPr>
          <a:xfrm>
            <a:off x="437197" y="788027"/>
            <a:ext cx="4780426" cy="3545848"/>
          </a:xfrm>
          <a:prstGeom prst="rect">
            <a:avLst/>
          </a:prstGeom>
          <a:noFill/>
          <a:ln>
            <a:solidFill>
              <a:schemeClr val="bg1">
                <a:lumMod val="85000"/>
                <a:alpha val="7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3404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B3805-FF3D-543D-1EB3-88795E144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CA58D39-81C2-94F5-C7BC-709B5B79A8CE}"/>
              </a:ext>
            </a:extLst>
          </p:cNvPr>
          <p:cNvSpPr/>
          <p:nvPr/>
        </p:nvSpPr>
        <p:spPr>
          <a:xfrm>
            <a:off x="0" y="0"/>
            <a:ext cx="362373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FF4B19E8-DA0D-8490-8A1E-39A8E311C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3732" y="1175865"/>
            <a:ext cx="8568268" cy="340115"/>
          </a:xfrm>
        </p:spPr>
        <p:txBody>
          <a:bodyPr/>
          <a:lstStyle/>
          <a:p>
            <a:pPr algn="ctr"/>
            <a:r>
              <a:rPr lang="en-US" sz="2400"/>
              <a:t>Examples for Outpatient Consult Procedural family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4567CE1-E8A0-3142-84F1-44DBF5E215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802039"/>
              </p:ext>
            </p:extLst>
          </p:nvPr>
        </p:nvGraphicFramePr>
        <p:xfrm>
          <a:off x="3886200" y="1821684"/>
          <a:ext cx="7823201" cy="33472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0912">
                  <a:extLst>
                    <a:ext uri="{9D8B030D-6E8A-4147-A177-3AD203B41FA5}">
                      <a16:colId xmlns:a16="http://schemas.microsoft.com/office/drawing/2014/main" val="1224030939"/>
                    </a:ext>
                  </a:extLst>
                </a:gridCol>
                <a:gridCol w="1132712">
                  <a:extLst>
                    <a:ext uri="{9D8B030D-6E8A-4147-A177-3AD203B41FA5}">
                      <a16:colId xmlns:a16="http://schemas.microsoft.com/office/drawing/2014/main" val="3623990464"/>
                    </a:ext>
                  </a:extLst>
                </a:gridCol>
                <a:gridCol w="701579">
                  <a:extLst>
                    <a:ext uri="{9D8B030D-6E8A-4147-A177-3AD203B41FA5}">
                      <a16:colId xmlns:a16="http://schemas.microsoft.com/office/drawing/2014/main" val="2978455390"/>
                    </a:ext>
                  </a:extLst>
                </a:gridCol>
                <a:gridCol w="1600768">
                  <a:extLst>
                    <a:ext uri="{9D8B030D-6E8A-4147-A177-3AD203B41FA5}">
                      <a16:colId xmlns:a16="http://schemas.microsoft.com/office/drawing/2014/main" val="2221508203"/>
                    </a:ext>
                  </a:extLst>
                </a:gridCol>
                <a:gridCol w="806118">
                  <a:extLst>
                    <a:ext uri="{9D8B030D-6E8A-4147-A177-3AD203B41FA5}">
                      <a16:colId xmlns:a16="http://schemas.microsoft.com/office/drawing/2014/main" val="2905369818"/>
                    </a:ext>
                  </a:extLst>
                </a:gridCol>
                <a:gridCol w="868124">
                  <a:extLst>
                    <a:ext uri="{9D8B030D-6E8A-4147-A177-3AD203B41FA5}">
                      <a16:colId xmlns:a16="http://schemas.microsoft.com/office/drawing/2014/main" val="1808382043"/>
                    </a:ext>
                  </a:extLst>
                </a:gridCol>
                <a:gridCol w="483670">
                  <a:extLst>
                    <a:ext uri="{9D8B030D-6E8A-4147-A177-3AD203B41FA5}">
                      <a16:colId xmlns:a16="http://schemas.microsoft.com/office/drawing/2014/main" val="1724183395"/>
                    </a:ext>
                  </a:extLst>
                </a:gridCol>
                <a:gridCol w="590150">
                  <a:extLst>
                    <a:ext uri="{9D8B030D-6E8A-4147-A177-3AD203B41FA5}">
                      <a16:colId xmlns:a16="http://schemas.microsoft.com/office/drawing/2014/main" val="3923432641"/>
                    </a:ext>
                  </a:extLst>
                </a:gridCol>
                <a:gridCol w="566908">
                  <a:extLst>
                    <a:ext uri="{9D8B030D-6E8A-4147-A177-3AD203B41FA5}">
                      <a16:colId xmlns:a16="http://schemas.microsoft.com/office/drawing/2014/main" val="1096941471"/>
                    </a:ext>
                  </a:extLst>
                </a:gridCol>
                <a:gridCol w="542260">
                  <a:extLst>
                    <a:ext uri="{9D8B030D-6E8A-4147-A177-3AD203B41FA5}">
                      <a16:colId xmlns:a16="http://schemas.microsoft.com/office/drawing/2014/main" val="2601582277"/>
                    </a:ext>
                  </a:extLst>
                </a:gridCol>
              </a:tblGrid>
              <a:tr h="578560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DV_KEY                       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EM_LOS_DESC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ICD_ROOT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ICD_DESCRIPTION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Procedure</a:t>
                      </a:r>
                      <a:b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</a:b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Group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Procedure</a:t>
                      </a:r>
                      <a:b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</a:b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family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n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LOS-3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LOS-4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b="1" u="none" strike="noStrike">
                          <a:solidFill>
                            <a:srgbClr val="FEFEFE"/>
                          </a:solidFill>
                          <a:effectLst/>
                        </a:rPr>
                        <a:t>LOS-5</a:t>
                      </a:r>
                      <a:endParaRPr lang="en-US" sz="8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808139"/>
                  </a:ext>
                </a:extLst>
              </a:tr>
              <a:tr h="92288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Evaluation and Management Level of Service Links for AL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H3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Unspecified retinal detachment with retinal break, right ey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VC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utpatient Consultat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2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65818349"/>
                  </a:ext>
                </a:extLst>
              </a:tr>
              <a:tr h="92288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Evaluation and Management Level of Service Links for AL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S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Wedge compression fracture of unspecified thoracic vertebra, initial encounter for closed fractur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VC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utpatient Consultat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35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2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4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91976775"/>
                  </a:ext>
                </a:extLst>
              </a:tr>
              <a:tr h="922885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Evaluation and Management Level of Service Links for AL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S9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Unspecified injury of muscle and tendon of long flexor muscle of toe at ankle and foot level, right foot, initial encount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VC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Outpatient Consultat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8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1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7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800" u="none" strike="noStrike">
                          <a:effectLst/>
                        </a:rPr>
                        <a:t>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2055137788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F1EDCE2-F4D5-A062-22D6-9BE12537C403}"/>
              </a:ext>
            </a:extLst>
          </p:cNvPr>
          <p:cNvSpPr txBox="1"/>
          <p:nvPr/>
        </p:nvSpPr>
        <p:spPr>
          <a:xfrm>
            <a:off x="583140" y="1012311"/>
            <a:ext cx="2457450" cy="31432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400" b="1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</a:rPr>
              <a:t>OP Consultatio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434C667-805F-A86F-C774-5E3E5A86F4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4751853"/>
              </p:ext>
            </p:extLst>
          </p:nvPr>
        </p:nvGraphicFramePr>
        <p:xfrm>
          <a:off x="154005" y="1365209"/>
          <a:ext cx="3469727" cy="3920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479077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FE5AEC4-0C1A-FC6F-3693-FE7CC3EEDA13}"/>
              </a:ext>
            </a:extLst>
          </p:cNvPr>
          <p:cNvSpPr/>
          <p:nvPr/>
        </p:nvSpPr>
        <p:spPr>
          <a:xfrm flipV="1">
            <a:off x="0" y="826021"/>
            <a:ext cx="12192000" cy="48185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9693EDCB-7AD0-A11C-8DBF-8D7BF9EC6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74" y="967764"/>
            <a:ext cx="11387049" cy="340115"/>
          </a:xfrm>
        </p:spPr>
        <p:txBody>
          <a:bodyPr/>
          <a:lstStyle/>
          <a:p>
            <a:r>
              <a:rPr lang="en-US" sz="2400"/>
              <a:t>High-LOS Hotspots - </a:t>
            </a:r>
            <a:r>
              <a:rPr lang="en-US" sz="2400" b="1"/>
              <a:t>Share of LOS 4/5</a:t>
            </a:r>
            <a:r>
              <a:rPr lang="en-US" sz="2400"/>
              <a:t> by Diagnosis × Procedure Grou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14F1657-2059-EB48-2AB6-37CE4C0B66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2436"/>
              </p:ext>
            </p:extLst>
          </p:nvPr>
        </p:nvGraphicFramePr>
        <p:xfrm>
          <a:off x="178863" y="1671072"/>
          <a:ext cx="11834274" cy="2744113"/>
        </p:xfrm>
        <a:graphic>
          <a:graphicData uri="http://schemas.openxmlformats.org/drawingml/2006/table">
            <a:tbl>
              <a:tblPr/>
              <a:tblGrid>
                <a:gridCol w="485280">
                  <a:extLst>
                    <a:ext uri="{9D8B030D-6E8A-4147-A177-3AD203B41FA5}">
                      <a16:colId xmlns:a16="http://schemas.microsoft.com/office/drawing/2014/main" val="2901441310"/>
                    </a:ext>
                  </a:extLst>
                </a:gridCol>
                <a:gridCol w="1591681">
                  <a:extLst>
                    <a:ext uri="{9D8B030D-6E8A-4147-A177-3AD203B41FA5}">
                      <a16:colId xmlns:a16="http://schemas.microsoft.com/office/drawing/2014/main" val="284371456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41706500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740077981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0553149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969291803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239600209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61859449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32637120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72328929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45297213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594281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93499362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546664160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27727397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418329767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61174191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30782526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10818917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88236157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86567031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732274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92729571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692109387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640320385"/>
                    </a:ext>
                  </a:extLst>
                </a:gridCol>
              </a:tblGrid>
              <a:tr h="2725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err="1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_Root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 Descripti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O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DC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HH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NR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O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ES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NW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ADM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C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ER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FU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O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DC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HH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NR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O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FU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NW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VC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RNCM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rand Total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594630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19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ute miliary tuberculosis of a single specified site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36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960400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8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reutzfeldt-Jakob disease, unspecified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36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41968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assive umbilical hemorrhage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354654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39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onatal infective mastitis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247391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90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vulsions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428671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affected by breech delivery and extracti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453661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0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affected by intrauterine (fetal) blood loss from vasa previa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887429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light for gestational age, unspecified weight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109702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2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ntraventricular (nontraumatic) hemorrhage, grade 1,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124213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7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xtremely low birth weight newborn, unspecified weight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59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4111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AE3BE-5EF9-7370-83DA-4CF917C65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CE08E4D-8F48-D92D-9610-1E2581F551DD}"/>
              </a:ext>
            </a:extLst>
          </p:cNvPr>
          <p:cNvSpPr/>
          <p:nvPr/>
        </p:nvSpPr>
        <p:spPr>
          <a:xfrm flipV="1">
            <a:off x="-2" y="196857"/>
            <a:ext cx="12192000" cy="48185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3C710FE-02CF-848C-9B4A-F8E6F0FC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1261" y="287800"/>
            <a:ext cx="8829475" cy="340115"/>
          </a:xfrm>
        </p:spPr>
        <p:txBody>
          <a:bodyPr/>
          <a:lstStyle/>
          <a:p>
            <a:pPr algn="ctr"/>
            <a:r>
              <a:rPr lang="en-US" sz="2400"/>
              <a:t>LOS Consistency Map: Green / Yellow / R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6A616-095E-5B76-73B2-C9A24A859254}"/>
              </a:ext>
            </a:extLst>
          </p:cNvPr>
          <p:cNvSpPr txBox="1"/>
          <p:nvPr/>
        </p:nvSpPr>
        <p:spPr>
          <a:xfrm>
            <a:off x="479657" y="3842341"/>
            <a:ext cx="11232682" cy="24929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>
                <a:latin typeface="Aptos Display" panose="020B0004020202020204" pitchFamily="34" charset="0"/>
              </a:rPr>
              <a:t>Stoplight legend &amp; how we’ll use it:</a:t>
            </a:r>
            <a:endParaRPr lang="en-US" sz="1200">
              <a:latin typeface="Aptos Display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Aptos Display" panose="020B0004020202020204" pitchFamily="34" charset="0"/>
              </a:rPr>
              <a:t>Green (consistent)</a:t>
            </a:r>
            <a:r>
              <a:rPr lang="en-US" sz="1200">
                <a:latin typeface="Aptos Display" panose="020B0004020202020204" pitchFamily="34" charset="0"/>
              </a:rPr>
              <a:t> - A single LOS across all ICD versions within an ICD × CPT group (mode confidence = </a:t>
            </a:r>
            <a:r>
              <a:rPr lang="en-US" sz="1200" b="1">
                <a:latin typeface="Aptos Display" panose="020B0004020202020204" pitchFamily="34" charset="0"/>
              </a:rPr>
              <a:t>100%</a:t>
            </a:r>
            <a:r>
              <a:rPr lang="en-US" sz="1200">
                <a:latin typeface="Aptos Display" panose="020B0004020202020204" pitchFamily="34" charset="0"/>
              </a:rPr>
              <a:t>).</a:t>
            </a:r>
            <a:br>
              <a:rPr lang="en-US" sz="1200">
                <a:latin typeface="Aptos Display" panose="020B0004020202020204" pitchFamily="34" charset="0"/>
              </a:rPr>
            </a:br>
            <a:r>
              <a:rPr lang="en-US" sz="1200" i="1">
                <a:latin typeface="Aptos Display" panose="020B0004020202020204" pitchFamily="34" charset="0"/>
              </a:rPr>
              <a:t>Example:</a:t>
            </a:r>
            <a:r>
              <a:rPr lang="en-US" sz="1200">
                <a:latin typeface="Aptos Display" panose="020B0004020202020204" pitchFamily="34" charset="0"/>
              </a:rPr>
              <a:t> For CPT </a:t>
            </a:r>
            <a:r>
              <a:rPr lang="en-US" sz="1200" b="1">
                <a:latin typeface="Aptos Display" panose="020B0004020202020204" pitchFamily="34" charset="0"/>
              </a:rPr>
              <a:t>ESTOV</a:t>
            </a:r>
            <a:r>
              <a:rPr lang="en-US" sz="1200">
                <a:latin typeface="Aptos Display" panose="020B0004020202020204" pitchFamily="34" charset="0"/>
              </a:rPr>
              <a:t>, all versions of ICD </a:t>
            </a:r>
            <a:r>
              <a:rPr lang="en-US" sz="1200" b="1">
                <a:latin typeface="Aptos Display" panose="020B0004020202020204" pitchFamily="34" charset="0"/>
              </a:rPr>
              <a:t>A00.x</a:t>
            </a:r>
            <a:r>
              <a:rPr lang="en-US" sz="1200">
                <a:latin typeface="Aptos Display" panose="020B0004020202020204" pitchFamily="34" charset="0"/>
              </a:rPr>
              <a:t> resolve to </a:t>
            </a:r>
            <a:r>
              <a:rPr lang="en-US" sz="1200" b="1">
                <a:latin typeface="Aptos Display" panose="020B0004020202020204" pitchFamily="34" charset="0"/>
              </a:rPr>
              <a:t>LOS 3</a:t>
            </a:r>
            <a:r>
              <a:rPr lang="en-US" sz="1200">
                <a:latin typeface="Aptos Display" panose="020B0004020202020204" pitchFamily="34" charset="0"/>
              </a:rPr>
              <a:t>.</a:t>
            </a:r>
            <a:br>
              <a:rPr lang="en-US" sz="1200">
                <a:latin typeface="Aptos Display" panose="020B0004020202020204" pitchFamily="34" charset="0"/>
              </a:rPr>
            </a:br>
            <a:r>
              <a:rPr lang="en-US" sz="1200" b="1">
                <a:latin typeface="Aptos Display" panose="020B0004020202020204" pitchFamily="34" charset="0"/>
              </a:rPr>
              <a:t>Coverage:</a:t>
            </a:r>
            <a:r>
              <a:rPr lang="en-US" sz="1200">
                <a:latin typeface="Aptos Display" panose="020B0004020202020204" pitchFamily="34" charset="0"/>
              </a:rPr>
              <a:t> ~</a:t>
            </a:r>
            <a:r>
              <a:rPr lang="en-US" sz="1200" b="1">
                <a:latin typeface="Aptos Display" panose="020B0004020202020204" pitchFamily="34" charset="0"/>
              </a:rPr>
              <a:t>88%</a:t>
            </a:r>
            <a:r>
              <a:rPr lang="en-US" sz="1200">
                <a:latin typeface="Aptos Display" panose="020B0004020202020204" pitchFamily="34" charset="0"/>
              </a:rPr>
              <a:t> of RMI ICD × CPT pai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Aptos Display" panose="020B0004020202020204" pitchFamily="34" charset="0"/>
              </a:rPr>
              <a:t>Yellow (mixed but directional)</a:t>
            </a:r>
            <a:r>
              <a:rPr lang="en-US" sz="1200">
                <a:latin typeface="Aptos Display" panose="020B0004020202020204" pitchFamily="34" charset="0"/>
              </a:rPr>
              <a:t> - Mode confidence </a:t>
            </a:r>
            <a:r>
              <a:rPr lang="en-US" sz="1200" b="1">
                <a:latin typeface="Aptos Display" panose="020B0004020202020204" pitchFamily="34" charset="0"/>
              </a:rPr>
              <a:t>≥60% and &lt;100%</a:t>
            </a:r>
            <a:r>
              <a:rPr lang="en-US" sz="1200">
                <a:latin typeface="Aptos Display" panose="020B0004020202020204" pitchFamily="34" charset="0"/>
              </a:rPr>
              <a:t> (some variation).</a:t>
            </a:r>
            <a:br>
              <a:rPr lang="en-US" sz="1200">
                <a:latin typeface="Aptos Display" panose="020B0004020202020204" pitchFamily="34" charset="0"/>
              </a:rPr>
            </a:br>
            <a:r>
              <a:rPr lang="en-US" sz="1200" i="1">
                <a:latin typeface="Aptos Display" panose="020B0004020202020204" pitchFamily="34" charset="0"/>
              </a:rPr>
              <a:t>Example:</a:t>
            </a:r>
            <a:r>
              <a:rPr lang="en-US" sz="1200">
                <a:latin typeface="Aptos Display" panose="020B0004020202020204" pitchFamily="34" charset="0"/>
              </a:rPr>
              <a:t> ICD </a:t>
            </a:r>
            <a:r>
              <a:rPr lang="en-US" sz="1200" b="1">
                <a:latin typeface="Aptos Display" panose="020B0004020202020204" pitchFamily="34" charset="0"/>
              </a:rPr>
              <a:t>Z95</a:t>
            </a:r>
            <a:r>
              <a:rPr lang="en-US" sz="1200">
                <a:latin typeface="Aptos Display" panose="020B0004020202020204" pitchFamily="34" charset="0"/>
              </a:rPr>
              <a:t> with CPT </a:t>
            </a:r>
            <a:r>
              <a:rPr lang="en-US" sz="1200" b="1">
                <a:latin typeface="Aptos Display" panose="020B0004020202020204" pitchFamily="34" charset="0"/>
              </a:rPr>
              <a:t>TRNCM</a:t>
            </a:r>
            <a:r>
              <a:rPr lang="en-US" sz="1200">
                <a:latin typeface="Aptos Display" panose="020B0004020202020204" pitchFamily="34" charset="0"/>
              </a:rPr>
              <a:t> appears as </a:t>
            </a:r>
            <a:r>
              <a:rPr lang="en-US" sz="1200" b="1">
                <a:latin typeface="Aptos Display" panose="020B0004020202020204" pitchFamily="34" charset="0"/>
              </a:rPr>
              <a:t>LOS 2</a:t>
            </a:r>
            <a:r>
              <a:rPr lang="en-US" sz="1200">
                <a:latin typeface="Aptos Display" panose="020B0004020202020204" pitchFamily="34" charset="0"/>
              </a:rPr>
              <a:t> and </a:t>
            </a:r>
            <a:r>
              <a:rPr lang="en-US" sz="1200" b="1">
                <a:latin typeface="Aptos Display" panose="020B0004020202020204" pitchFamily="34" charset="0"/>
              </a:rPr>
              <a:t>LOS 3</a:t>
            </a:r>
            <a:r>
              <a:rPr lang="en-US" sz="1200">
                <a:latin typeface="Aptos Display" panose="020B00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Aptos Display" panose="020B0004020202020204" pitchFamily="34" charset="0"/>
              </a:rPr>
              <a:t>Red (unstable)</a:t>
            </a:r>
            <a:r>
              <a:rPr lang="en-US" sz="1200">
                <a:latin typeface="Aptos Display" panose="020B0004020202020204" pitchFamily="34" charset="0"/>
              </a:rPr>
              <a:t> - Mode confidence </a:t>
            </a:r>
            <a:r>
              <a:rPr lang="en-US" sz="1200" b="1">
                <a:latin typeface="Aptos Display" panose="020B0004020202020204" pitchFamily="34" charset="0"/>
              </a:rPr>
              <a:t>&lt;60%</a:t>
            </a:r>
            <a:r>
              <a:rPr lang="en-US" sz="1200">
                <a:latin typeface="Aptos Display" panose="020B0004020202020204" pitchFamily="34" charset="0"/>
              </a:rPr>
              <a:t> (no clear dominant level).</a:t>
            </a:r>
            <a:br>
              <a:rPr lang="en-US" sz="1200">
                <a:latin typeface="Aptos Display" panose="020B0004020202020204" pitchFamily="34" charset="0"/>
              </a:rPr>
            </a:br>
            <a:endParaRPr lang="en-US" sz="1200">
              <a:latin typeface="Aptos Display" panose="020B00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>
                <a:latin typeface="Aptos Display" panose="020B0004020202020204" pitchFamily="34" charset="0"/>
              </a:rPr>
              <a:t>What we’ll do next:</a:t>
            </a:r>
            <a:endParaRPr lang="en-US" sz="1200">
              <a:latin typeface="Aptos Display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Aptos Display" panose="020B0004020202020204" pitchFamily="34" charset="0"/>
              </a:rPr>
              <a:t>Green (majority):</a:t>
            </a:r>
            <a:r>
              <a:rPr lang="en-US" sz="1200">
                <a:latin typeface="Aptos Display" panose="020B0004020202020204" pitchFamily="34" charset="0"/>
              </a:rPr>
              <a:t> Validate the baseline against </a:t>
            </a:r>
            <a:r>
              <a:rPr lang="en-US" sz="1200" b="1">
                <a:latin typeface="Aptos Display" panose="020B0004020202020204" pitchFamily="34" charset="0"/>
              </a:rPr>
              <a:t>actual claims</a:t>
            </a:r>
            <a:r>
              <a:rPr lang="en-US" sz="1200">
                <a:latin typeface="Aptos Display" panose="020B0004020202020204" pitchFamily="34" charset="0"/>
              </a:rPr>
              <a:t> (billed LOS) and quantify </a:t>
            </a:r>
            <a:r>
              <a:rPr lang="en-US" sz="1200" b="1">
                <a:latin typeface="Aptos Display" panose="020B0004020202020204" pitchFamily="34" charset="0"/>
              </a:rPr>
              <a:t>$ adjustments</a:t>
            </a:r>
            <a:r>
              <a:rPr lang="en-US" sz="1200">
                <a:latin typeface="Aptos Display" panose="020B0004020202020204" pitchFamily="34" charset="0"/>
              </a:rPr>
              <a:t> due to LOS edi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latin typeface="Aptos Display" panose="020B0004020202020204" pitchFamily="34" charset="0"/>
              </a:rPr>
              <a:t>Yellow &amp; Red (smaller share):</a:t>
            </a:r>
            <a:r>
              <a:rPr lang="en-US" sz="1200">
                <a:latin typeface="Aptos Display" panose="020B0004020202020204" pitchFamily="34" charset="0"/>
              </a:rPr>
              <a:t> Do the same claims validation </a:t>
            </a:r>
            <a:r>
              <a:rPr lang="en-US" sz="1200" b="1">
                <a:latin typeface="Aptos Display" panose="020B0004020202020204" pitchFamily="34" charset="0"/>
              </a:rPr>
              <a:t>plus</a:t>
            </a:r>
            <a:r>
              <a:rPr lang="en-US" sz="1200">
                <a:latin typeface="Aptos Display" panose="020B0004020202020204" pitchFamily="34" charset="0"/>
              </a:rPr>
              <a:t> SME review to understand patterns and set a </a:t>
            </a:r>
            <a:r>
              <a:rPr lang="en-US" sz="1200" b="1">
                <a:latin typeface="Aptos Display" panose="020B0004020202020204" pitchFamily="34" charset="0"/>
              </a:rPr>
              <a:t>defensible, data-driven</a:t>
            </a:r>
            <a:r>
              <a:rPr lang="en-US" sz="1200">
                <a:latin typeface="Aptos Display" panose="020B0004020202020204" pitchFamily="34" charset="0"/>
              </a:rPr>
              <a:t> approach for future diagnoses and procedures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706A37B-A2FB-73D4-E9DD-1B9EEC0483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1382933"/>
              </p:ext>
            </p:extLst>
          </p:nvPr>
        </p:nvGraphicFramePr>
        <p:xfrm>
          <a:off x="341" y="869878"/>
          <a:ext cx="2541967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B2EDA4B-01F8-947A-385F-2B938361D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4460510"/>
              </p:ext>
            </p:extLst>
          </p:nvPr>
        </p:nvGraphicFramePr>
        <p:xfrm>
          <a:off x="2532786" y="869878"/>
          <a:ext cx="322585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EE56929-6F29-08DA-1605-CB4C3924E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2626042"/>
              </p:ext>
            </p:extLst>
          </p:nvPr>
        </p:nvGraphicFramePr>
        <p:xfrm>
          <a:off x="5758644" y="869879"/>
          <a:ext cx="321667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14C62EB-5AD5-69B5-5911-9A97AB740C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7582334"/>
              </p:ext>
            </p:extLst>
          </p:nvPr>
        </p:nvGraphicFramePr>
        <p:xfrm>
          <a:off x="8974979" y="869878"/>
          <a:ext cx="3217021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9005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F9BAA3-3A7D-4EF0-A2DF-DFAEF048879A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137E6B-0310-42FE-8BE9-AAEB6877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30" name="Agenda Table">
            <a:extLst>
              <a:ext uri="{FF2B5EF4-FFF2-40B4-BE49-F238E27FC236}">
                <a16:creationId xmlns:a16="http://schemas.microsoft.com/office/drawing/2014/main" id="{9951DCF4-7627-4B7C-8711-BB343F81B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864733"/>
              </p:ext>
            </p:extLst>
          </p:nvPr>
        </p:nvGraphicFramePr>
        <p:xfrm>
          <a:off x="457200" y="755508"/>
          <a:ext cx="11274552" cy="5387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28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bout myself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accent1"/>
                          </a:solidFill>
                          <a:latin typeface="+mn-lt"/>
                        </a:rPr>
                        <a:t>My Internship goals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nship Progress Timeline</a:t>
                      </a:r>
                      <a:endParaRPr lang="en-US" sz="1800" b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394149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sk Data POC – AI Data Agent</a:t>
                      </a:r>
                      <a:endParaRPr lang="en-US" sz="1800" b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204831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accent1"/>
                          </a:solidFill>
                          <a:latin typeface="+mn-lt"/>
                        </a:rPr>
                        <a:t>E&amp;M LOS Recalibration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770511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accent1"/>
                          </a:solidFill>
                          <a:latin typeface="+mn-lt"/>
                        </a:rPr>
                        <a:t>Feedback and Learnings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894545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accent1"/>
                          </a:solidFill>
                          <a:latin typeface="+mn-lt"/>
                        </a:rPr>
                        <a:t>Q &amp; 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2845000"/>
                  </a:ext>
                </a:extLst>
              </a:tr>
            </a:tbl>
          </a:graphicData>
        </a:graphic>
      </p:graphicFrame>
      <p:sp>
        <p:nvSpPr>
          <p:cNvPr id="3" name="Title" descr="Agenda">
            <a:extLst>
              <a:ext uri="{FF2B5EF4-FFF2-40B4-BE49-F238E27FC236}">
                <a16:creationId xmlns:a16="http://schemas.microsoft.com/office/drawing/2014/main" id="{FB592D7D-D5AB-4CE1-A63E-D4914614C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70246"/>
            <a:ext cx="11274552" cy="780769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93123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22269-F4C5-8A6A-9853-8C23C3D05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78CDA4C-2C72-59F8-5F4C-C03D1FFCEA33}"/>
              </a:ext>
            </a:extLst>
          </p:cNvPr>
          <p:cNvSpPr/>
          <p:nvPr/>
        </p:nvSpPr>
        <p:spPr>
          <a:xfrm>
            <a:off x="0" y="0"/>
            <a:ext cx="2812026" cy="6479459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B441C5-4660-42A9-560F-6DA8EF9E0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182AB9-9C29-0236-60CD-28CDE05E6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58429"/>
            <a:ext cx="2812025" cy="340115"/>
          </a:xfrm>
        </p:spPr>
        <p:txBody>
          <a:bodyPr/>
          <a:lstStyle/>
          <a:p>
            <a:pPr algn="ctr"/>
            <a:r>
              <a:rPr lang="en-US"/>
              <a:t>Next Steps: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D7B1D8-50B5-E4F5-0BB6-F429B4746D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9226" y="643822"/>
            <a:ext cx="8167828" cy="48948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>
                <a:solidFill>
                  <a:schemeClr val="tx1"/>
                </a:solidFill>
              </a:rPr>
              <a:t>Why we started with descriptive analysis (Phase 1) and how it helps:</a:t>
            </a:r>
          </a:p>
          <a:p>
            <a:r>
              <a:rPr lang="en-US" sz="1400">
                <a:solidFill>
                  <a:schemeClr val="tx1"/>
                </a:solidFill>
              </a:rPr>
              <a:t>Descriptive analytics tells us what’s actually happening in our historical expert assignments, where the patterns are strong vs weak, and where we need guardrails.</a:t>
            </a:r>
          </a:p>
          <a:p>
            <a:endParaRPr lang="en-US" sz="140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400">
                <a:solidFill>
                  <a:schemeClr val="tx1"/>
                </a:solidFill>
              </a:rPr>
              <a:t>How this connects to the next phases:</a:t>
            </a:r>
          </a:p>
          <a:p>
            <a:r>
              <a:rPr lang="en-US" sz="1400">
                <a:solidFill>
                  <a:srgbClr val="9579D3"/>
                </a:solidFill>
              </a:rPr>
              <a:t>Phase 2 – Claims validation &amp; $ impact: </a:t>
            </a:r>
            <a:r>
              <a:rPr lang="en-US" sz="1400">
                <a:solidFill>
                  <a:schemeClr val="tx1"/>
                </a:solidFill>
              </a:rPr>
              <a:t>We will link these baselines to real claims, measure adjustments rates and dollars, and confirm which settings produce savings without risk.</a:t>
            </a:r>
          </a:p>
          <a:p>
            <a:r>
              <a:rPr lang="en-US" sz="1400">
                <a:solidFill>
                  <a:srgbClr val="9579D3"/>
                </a:solidFill>
              </a:rPr>
              <a:t>Phase 3 – Predictive baselines: </a:t>
            </a:r>
            <a:r>
              <a:rPr lang="en-US" sz="1400">
                <a:solidFill>
                  <a:schemeClr val="tx1"/>
                </a:solidFill>
              </a:rPr>
              <a:t>Use these clear patterns of Statistical Analysis + claims evidence to build predictive logic that’s defensible and auditable.</a:t>
            </a:r>
          </a:p>
          <a:p>
            <a:r>
              <a:rPr lang="en-US" sz="1400">
                <a:solidFill>
                  <a:srgbClr val="9579D3"/>
                </a:solidFill>
              </a:rPr>
              <a:t>Phase 4 – Automate &amp; monitor: </a:t>
            </a:r>
            <a:r>
              <a:rPr lang="en-US" sz="1400">
                <a:solidFill>
                  <a:schemeClr val="tx1"/>
                </a:solidFill>
              </a:rPr>
              <a:t>Turn the agreed baselines into rules/thresholds, put them behind explainable models, and add drift monitoring to keep performance steady.</a:t>
            </a:r>
          </a:p>
          <a:p>
            <a:pPr marL="0" indent="0">
              <a:buNone/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928C3A-7FD3-5A05-FB90-779B43D450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8369" y="2860889"/>
            <a:ext cx="935285" cy="93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700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BFFF88C-7D9A-DC8B-D7D7-BFE037523B1E}"/>
              </a:ext>
            </a:extLst>
          </p:cNvPr>
          <p:cNvSpPr/>
          <p:nvPr/>
        </p:nvSpPr>
        <p:spPr>
          <a:xfrm>
            <a:off x="660400" y="685800"/>
            <a:ext cx="5219700" cy="876300"/>
          </a:xfrm>
          <a:prstGeom prst="round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3D9881E-9566-1817-63E3-0FB87903245B}"/>
              </a:ext>
            </a:extLst>
          </p:cNvPr>
          <p:cNvSpPr/>
          <p:nvPr/>
        </p:nvSpPr>
        <p:spPr>
          <a:xfrm>
            <a:off x="6299200" y="685800"/>
            <a:ext cx="5219700" cy="876300"/>
          </a:xfrm>
          <a:prstGeom prst="round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2C0516-7251-A028-DEE1-1ED6F2D23609}"/>
              </a:ext>
            </a:extLst>
          </p:cNvPr>
          <p:cNvSpPr/>
          <p:nvPr/>
        </p:nvSpPr>
        <p:spPr>
          <a:xfrm>
            <a:off x="660400" y="1806185"/>
            <a:ext cx="5219700" cy="3873500"/>
          </a:xfrm>
          <a:prstGeom prst="roundRect">
            <a:avLst/>
          </a:prstGeom>
          <a:noFill/>
          <a:ln w="76200">
            <a:solidFill>
              <a:srgbClr val="E9E3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28D5FEC1-5088-5374-4B81-2A8E6DB03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853685"/>
            <a:ext cx="5219700" cy="340115"/>
          </a:xfrm>
        </p:spPr>
        <p:txBody>
          <a:bodyPr/>
          <a:lstStyle/>
          <a:p>
            <a:pPr algn="ctr"/>
            <a:r>
              <a:rPr lang="en-US" sz="2400"/>
              <a:t>Lessons Learned during Internship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1EB7D46-BF1D-FEF7-190A-D3845E5EE7C0}"/>
              </a:ext>
            </a:extLst>
          </p:cNvPr>
          <p:cNvSpPr txBox="1">
            <a:spLocks/>
          </p:cNvSpPr>
          <p:nvPr/>
        </p:nvSpPr>
        <p:spPr>
          <a:xfrm>
            <a:off x="6299200" y="953892"/>
            <a:ext cx="5219700" cy="3401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/>
              <a:t>Feedback for Team &amp; Company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517B8B2-1307-1A90-D73F-CE041589C5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8850" y="1977322"/>
            <a:ext cx="4622800" cy="3702363"/>
          </a:xfrm>
        </p:spPr>
        <p:txBody>
          <a:bodyPr>
            <a:norm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Web Scraping Exposure: </a:t>
            </a: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Gained hands-on experience in Python-based web scraping for couple U.S. states for Legal team, my first real-world exposure to web crawling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E&amp;M Project Complexity: </a:t>
            </a: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Understood the business impact of LOS recalibration and how accurate data modeling drives payer efficiency and clinical transparency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Enterprise AI Application: </a:t>
            </a: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Learned the difference between academic and real-world AI by creating an AI Data Agent on Microsoft Fabric using healthcare data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Ownership &amp; Accountability: </a:t>
            </a: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Taking end-to-end responsibility strengthened my decision-making, problem-solving, and professional confidence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Creativity &amp; Business Thinking: </a:t>
            </a:r>
            <a:r>
              <a:rPr kumimoji="0" lang="en-US" altLang="en-US" sz="1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ea typeface="+mn-ea"/>
                <a:cs typeface="+mn-cs"/>
              </a:rPr>
              <a:t>Learned to think beyond code, connecting analytics with business outcomes through collaboration with leadership teams and CMD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altLang="en-US" sz="12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Semi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SemiBold"/>
              <a:ea typeface="+mn-ea"/>
              <a:cs typeface="+mn-cs"/>
            </a:endParaRPr>
          </a:p>
          <a:p>
            <a:endParaRPr lang="en-US" sz="125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BDF402D-81E5-BB28-EF12-EA73581AAED3}"/>
              </a:ext>
            </a:extLst>
          </p:cNvPr>
          <p:cNvSpPr/>
          <p:nvPr/>
        </p:nvSpPr>
        <p:spPr>
          <a:xfrm>
            <a:off x="6299200" y="1789920"/>
            <a:ext cx="5219700" cy="3873500"/>
          </a:xfrm>
          <a:prstGeom prst="roundRect">
            <a:avLst/>
          </a:prstGeom>
          <a:noFill/>
          <a:ln w="76200">
            <a:solidFill>
              <a:srgbClr val="E9E3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998D379-CE95-4413-7BF1-BFAEDFB756C4}"/>
              </a:ext>
            </a:extLst>
          </p:cNvPr>
          <p:cNvSpPr txBox="1">
            <a:spLocks/>
          </p:cNvSpPr>
          <p:nvPr/>
        </p:nvSpPr>
        <p:spPr>
          <a:xfrm>
            <a:off x="2844800" y="-289082"/>
            <a:ext cx="4705350" cy="37023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468C37-8692-6978-C049-30B99F9EF3EC}"/>
              </a:ext>
            </a:extLst>
          </p:cNvPr>
          <p:cNvSpPr txBox="1"/>
          <p:nvPr/>
        </p:nvSpPr>
        <p:spPr>
          <a:xfrm>
            <a:off x="6413500" y="2058373"/>
            <a:ext cx="4991100" cy="3362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50">
                <a:solidFill>
                  <a:srgbClr val="EC008C"/>
                </a:solidFill>
                <a:latin typeface="Montserrat SemiBold"/>
              </a:rPr>
              <a:t>Exceptional Mentorship: </a:t>
            </a:r>
            <a:r>
              <a:rPr lang="en-US" sz="1250">
                <a:solidFill>
                  <a:srgbClr val="000000"/>
                </a:solidFill>
                <a:latin typeface="Montserrat SemiBold"/>
              </a:rPr>
              <a:t>Grateful for the guidance from amazing leaders, every discussion added technical depth and strategic clar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50">
                <a:solidFill>
                  <a:srgbClr val="EC008C"/>
                </a:solidFill>
                <a:latin typeface="Montserrat SemiBold"/>
              </a:rPr>
              <a:t>Collaborative Culture: </a:t>
            </a:r>
            <a:r>
              <a:rPr lang="en-US" sz="1250">
                <a:solidFill>
                  <a:srgbClr val="000000"/>
                </a:solidFill>
                <a:latin typeface="Montserrat SemiBold"/>
              </a:rPr>
              <a:t>The open, non-hierarchical environment encouraged idea-sharing, teamwork, and transparent communic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50">
                <a:solidFill>
                  <a:srgbClr val="EC008C"/>
                </a:solidFill>
                <a:latin typeface="Montserrat SemiBold"/>
              </a:rPr>
              <a:t>Empowerment &amp; Trust: </a:t>
            </a:r>
            <a:r>
              <a:rPr lang="en-US" sz="1250">
                <a:solidFill>
                  <a:srgbClr val="000000"/>
                </a:solidFill>
                <a:latin typeface="Montserrat SemiBold"/>
              </a:rPr>
              <a:t>Being entrusted with project ownership and independence helped me grow faster, the freedom to experiment while receiving constant feedback truly accelerated my learning cur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50">
                <a:solidFill>
                  <a:srgbClr val="EC008C"/>
                </a:solidFill>
                <a:latin typeface="Montserrat SemiBold"/>
              </a:rPr>
              <a:t>Data Availability Feedback: </a:t>
            </a:r>
            <a:r>
              <a:rPr lang="en-US" sz="1250">
                <a:solidFill>
                  <a:srgbClr val="000000"/>
                </a:solidFill>
                <a:latin typeface="Montserrat SemiBold"/>
              </a:rPr>
              <a:t>Accessing data across multiple schemas was challenging; improved documentation and discoverability would enhance efficien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50">
                <a:solidFill>
                  <a:srgbClr val="EC008C"/>
                </a:solidFill>
                <a:latin typeface="Montserrat SemiBold"/>
              </a:rPr>
              <a:t>Continuous Improvement: </a:t>
            </a:r>
            <a:r>
              <a:rPr lang="en-US" sz="1250">
                <a:solidFill>
                  <a:srgbClr val="000000"/>
                </a:solidFill>
                <a:latin typeface="Montserrat SemiBold"/>
              </a:rPr>
              <a:t>Cotiviti’s openness to feedback and innovation fosters a strong learning culture for every team member.</a:t>
            </a:r>
          </a:p>
        </p:txBody>
      </p:sp>
    </p:spTree>
    <p:extLst>
      <p:ext uri="{BB962C8B-B14F-4D97-AF65-F5344CB8AC3E}">
        <p14:creationId xmlns:p14="http://schemas.microsoft.com/office/powerpoint/2010/main" val="3763876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4A51B0-CCE7-E65C-F108-292267D01257}"/>
              </a:ext>
            </a:extLst>
          </p:cNvPr>
          <p:cNvSpPr/>
          <p:nvPr/>
        </p:nvSpPr>
        <p:spPr>
          <a:xfrm>
            <a:off x="0" y="1"/>
            <a:ext cx="12192000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137E6B-0310-42FE-8BE9-AAEB6877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61A7F0-2B31-0AF3-CC2D-28634336DF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62597" y="1305098"/>
            <a:ext cx="3866806" cy="386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849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4748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CA949-40BB-B8BC-BC0F-ACD01841C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F7E4E-BCA8-49E7-0BAD-83EF9FF3E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DA2E0D-FBCC-A8DC-D6A7-CCF39989B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946" y="273557"/>
            <a:ext cx="7537010" cy="340115"/>
          </a:xfrm>
        </p:spPr>
        <p:txBody>
          <a:bodyPr/>
          <a:lstStyle/>
          <a:p>
            <a:r>
              <a:rPr lang="en-US" sz="2400"/>
              <a:t>Procedural group Abbreviations: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CE48AC3-B851-5F1C-8051-F8226D172743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665429" y="684920"/>
            <a:ext cx="7561685" cy="565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AO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(Other) Preventive exam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CPT 99391–99397; non-Medicare “physical”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A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Wellness Visi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Medicare AWV, G0439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DC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Domiciliary/Rest Home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334–99337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HH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Home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347–99350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NR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ursing Facility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subsequent care, e.g., 99307–99310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O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visi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12–9921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 exam, Established patien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2012, 92014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NW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 exam, New patien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2002, 92004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ADM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Admission / Initial hospital care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21–99223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CON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consultation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51–99255; payer-specific usage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ER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mergency Department visi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D/ER services, 99281–99285) </a:t>
            </a:r>
            <a:r>
              <a:rPr kumimoji="0" lang="en-US" altLang="en-US" sz="11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[label sometimes used even if not strictly “IP”]</a:t>
            </a:r>
            <a:endParaRPr kumimoji="0" lang="en-US" alt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ptos" panose="020B00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FU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follow-up / Subsequent hospital care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31–99233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AO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(Other) Preventive exam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81–99387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A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itial Annual Wellness Visi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Medicare AWV, G0438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DC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Domiciliary/Rest Home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24–99328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HH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Home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41–9934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NR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ursing Facility services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initial, 99304–99306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OV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visi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02–9920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FU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ervation care, subsequent/follow-up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224–99226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NW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ervation care, initial/new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218–99220; note 2023 merges with inpatient E/M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VCON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consultation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41–99245; payer-specific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TRNCM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Transitional Care Management</a:t>
            </a: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495–99496)</a:t>
            </a:r>
          </a:p>
        </p:txBody>
      </p:sp>
    </p:spTree>
    <p:extLst>
      <p:ext uri="{BB962C8B-B14F-4D97-AF65-F5344CB8AC3E}">
        <p14:creationId xmlns:p14="http://schemas.microsoft.com/office/powerpoint/2010/main" val="11773621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19B262-8EE9-5A07-2209-EC6CA66B6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46C8BA-FFB0-1352-D628-6B238E33F017}"/>
              </a:ext>
            </a:extLst>
          </p:cNvPr>
          <p:cNvSpPr/>
          <p:nvPr/>
        </p:nvSpPr>
        <p:spPr>
          <a:xfrm flipV="1">
            <a:off x="0" y="188050"/>
            <a:ext cx="12192000" cy="48185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508F8535-A934-8FDC-2C9F-3355448B2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0744" y="262188"/>
            <a:ext cx="9730507" cy="340115"/>
          </a:xfrm>
        </p:spPr>
        <p:txBody>
          <a:bodyPr/>
          <a:lstStyle/>
          <a:p>
            <a:pPr algn="ctr"/>
            <a:r>
              <a:rPr lang="en-US" sz="2400"/>
              <a:t>Feasible LOS by procedure Group 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A63EE6D-247C-2A48-09EA-D102F6ED34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1347330"/>
              </p:ext>
            </p:extLst>
          </p:nvPr>
        </p:nvGraphicFramePr>
        <p:xfrm>
          <a:off x="1757666" y="804205"/>
          <a:ext cx="8676662" cy="552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33551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30950-9D6C-A84C-0D46-19ACB6F8D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0F960D3-6E35-459C-B5B7-13B374C391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992655"/>
              </p:ext>
            </p:extLst>
          </p:nvPr>
        </p:nvGraphicFramePr>
        <p:xfrm>
          <a:off x="2595715" y="1213381"/>
          <a:ext cx="6113621" cy="3691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826752D4-41F1-4121-6DDC-153F9E14B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63" y="400603"/>
            <a:ext cx="10950433" cy="340115"/>
          </a:xfrm>
        </p:spPr>
        <p:txBody>
          <a:bodyPr/>
          <a:lstStyle/>
          <a:p>
            <a:r>
              <a:rPr lang="en-US" sz="2400"/>
              <a:t>Example: Downcode Targets - High 4/5 Usage where typical Level ≤3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9EE4BBE-0359-9F41-948F-932B69120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951" y="5261930"/>
            <a:ext cx="10950434" cy="1025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These are our best near-term savings: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frequent </a:t>
            </a: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4/5 billing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where the </a:t>
            </a: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typical level is ≤3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We can start with the longest bars: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they combine </a:t>
            </a: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high dollar potential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with enough volume to act confidently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Action: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apply </a:t>
            </a:r>
            <a:r>
              <a:rPr kumimoji="0" lang="en-US" alt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recode rules or documentation checks</a:t>
            </a:r>
            <a:r>
              <a:rPr kumimoji="0" lang="en-US" altLang="en-US" sz="14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to these combos first; use guardrails where patterns are mixed.</a:t>
            </a:r>
          </a:p>
        </p:txBody>
      </p:sp>
    </p:spTree>
    <p:extLst>
      <p:ext uri="{BB962C8B-B14F-4D97-AF65-F5344CB8AC3E}">
        <p14:creationId xmlns:p14="http://schemas.microsoft.com/office/powerpoint/2010/main" val="2778441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A6B0562-C319-C8CD-D39B-5E0DC8F277CD}"/>
              </a:ext>
            </a:extLst>
          </p:cNvPr>
          <p:cNvSpPr/>
          <p:nvPr/>
        </p:nvSpPr>
        <p:spPr>
          <a:xfrm>
            <a:off x="5978845" y="1842718"/>
            <a:ext cx="1794049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D4176F-A9A7-D21B-8FF0-243B6C2B9C17}"/>
              </a:ext>
            </a:extLst>
          </p:cNvPr>
          <p:cNvSpPr/>
          <p:nvPr/>
        </p:nvSpPr>
        <p:spPr>
          <a:xfrm>
            <a:off x="8093024" y="1864264"/>
            <a:ext cx="1794049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936963-55FF-F49B-6B7E-11BB090737F5}"/>
              </a:ext>
            </a:extLst>
          </p:cNvPr>
          <p:cNvSpPr/>
          <p:nvPr/>
        </p:nvSpPr>
        <p:spPr>
          <a:xfrm>
            <a:off x="0" y="1"/>
            <a:ext cx="5671127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18CDA457-5FA7-C596-46B9-127385806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563" y="584072"/>
            <a:ext cx="6716455" cy="464808"/>
          </a:xfrm>
        </p:spPr>
        <p:txBody>
          <a:bodyPr/>
          <a:lstStyle/>
          <a:p>
            <a:r>
              <a:rPr lang="en-US" sz="2400"/>
              <a:t>Baseline LOS Mix: What’s Typical vs. Rare</a:t>
            </a:r>
          </a:p>
        </p:txBody>
      </p:sp>
      <p:pic>
        <p:nvPicPr>
          <p:cNvPr id="7" name="Graphic 6" descr="Bar graph with upward trend with solid fill">
            <a:extLst>
              <a:ext uri="{FF2B5EF4-FFF2-40B4-BE49-F238E27FC236}">
                <a16:creationId xmlns:a16="http://schemas.microsoft.com/office/drawing/2014/main" id="{1F036A24-E562-5099-5580-3408AC860D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34720" y="3216358"/>
            <a:ext cx="857085" cy="857085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0761038-2ABF-6C7B-BBC1-51126B54A78E}"/>
              </a:ext>
            </a:extLst>
          </p:cNvPr>
          <p:cNvSpPr/>
          <p:nvPr/>
        </p:nvSpPr>
        <p:spPr>
          <a:xfrm>
            <a:off x="10156253" y="1842717"/>
            <a:ext cx="1794048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9DAD85-5339-DF47-C52D-F36AB3361B50}"/>
              </a:ext>
            </a:extLst>
          </p:cNvPr>
          <p:cNvSpPr txBox="1"/>
          <p:nvPr/>
        </p:nvSpPr>
        <p:spPr>
          <a:xfrm>
            <a:off x="5978845" y="2359379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/>
              <a:t>LOS 2-3</a:t>
            </a:r>
            <a:br>
              <a:rPr lang="en-US" sz="1600" b="1"/>
            </a:br>
            <a:r>
              <a:rPr lang="en-US" sz="2000" b="1"/>
              <a:t>80%</a:t>
            </a:r>
            <a:endParaRPr lang="en-US" sz="1600" b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D9C805-06E2-4E5D-6638-3FF02AF4FDEA}"/>
              </a:ext>
            </a:extLst>
          </p:cNvPr>
          <p:cNvSpPr txBox="1"/>
          <p:nvPr/>
        </p:nvSpPr>
        <p:spPr>
          <a:xfrm>
            <a:off x="6000077" y="4146165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/>
              <a:t>Lower allowed</a:t>
            </a:r>
          </a:p>
          <a:p>
            <a:pPr algn="ctr"/>
            <a:r>
              <a:rPr lang="en-US" sz="1600" b="1"/>
              <a:t>LO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7645710-FAC9-C109-0461-EC51A61DFA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781" y="3279421"/>
            <a:ext cx="730957" cy="7309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3F1DC65-0C1A-E8D4-507D-DDB905F04CEA}"/>
              </a:ext>
            </a:extLst>
          </p:cNvPr>
          <p:cNvSpPr txBox="1"/>
          <p:nvPr/>
        </p:nvSpPr>
        <p:spPr>
          <a:xfrm>
            <a:off x="8080613" y="2358940"/>
            <a:ext cx="1806460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/>
              <a:t>LOS 4-5</a:t>
            </a:r>
            <a:br>
              <a:rPr lang="en-US" sz="1600" b="1"/>
            </a:br>
            <a:r>
              <a:rPr lang="en-US" sz="2000" b="1"/>
              <a:t>20%</a:t>
            </a:r>
            <a:endParaRPr lang="en-US" sz="1600" b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20848E-C1BD-33B0-B9B3-529CE95D1D1D}"/>
              </a:ext>
            </a:extLst>
          </p:cNvPr>
          <p:cNvSpPr txBox="1"/>
          <p:nvPr/>
        </p:nvSpPr>
        <p:spPr>
          <a:xfrm>
            <a:off x="8114256" y="4146164"/>
            <a:ext cx="1794049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Bef>
                <a:spcPts val="1200"/>
              </a:spcBef>
            </a:pPr>
            <a:r>
              <a:rPr lang="en-US" sz="1600" b="1"/>
              <a:t>Higher allowed LOS</a:t>
            </a:r>
            <a:br>
              <a:rPr lang="en-US" sz="1600" b="1"/>
            </a:br>
            <a:endParaRPr lang="en-US" sz="1600" b="1"/>
          </a:p>
        </p:txBody>
      </p:sp>
      <p:pic>
        <p:nvPicPr>
          <p:cNvPr id="25" name="Graphic 24" descr="Close with solid fill">
            <a:extLst>
              <a:ext uri="{FF2B5EF4-FFF2-40B4-BE49-F238E27FC236}">
                <a16:creationId xmlns:a16="http://schemas.microsoft.com/office/drawing/2014/main" id="{D48549FD-D13A-C86B-535F-92868ADF99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96076" y="3238501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6FA4755-7E70-C6DA-3FE9-4CABF526EC47}"/>
              </a:ext>
            </a:extLst>
          </p:cNvPr>
          <p:cNvSpPr txBox="1"/>
          <p:nvPr/>
        </p:nvSpPr>
        <p:spPr>
          <a:xfrm>
            <a:off x="10135021" y="2358940"/>
            <a:ext cx="1806460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/>
              <a:t>LOS 1</a:t>
            </a:r>
            <a:br>
              <a:rPr lang="en-US" sz="1600" b="1"/>
            </a:br>
            <a:r>
              <a:rPr lang="en-US" sz="2000" b="1"/>
              <a:t>0%</a:t>
            </a:r>
            <a:endParaRPr lang="en-US" sz="16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5B1959-D8B0-D5FD-DEE9-ED3A6067549E}"/>
              </a:ext>
            </a:extLst>
          </p:cNvPr>
          <p:cNvSpPr txBox="1"/>
          <p:nvPr/>
        </p:nvSpPr>
        <p:spPr>
          <a:xfrm>
            <a:off x="10135021" y="4146164"/>
            <a:ext cx="1794049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/>
              <a:t>Obsolete</a:t>
            </a:r>
          </a:p>
          <a:p>
            <a:pPr algn="ctr"/>
            <a:r>
              <a:rPr lang="en-US" sz="1600" b="1"/>
              <a:t> Zone</a:t>
            </a:r>
            <a:br>
              <a:rPr lang="en-US" sz="1600" b="1"/>
            </a:br>
            <a:endParaRPr lang="en-US" sz="1600" b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668DB93-E041-CE6E-5EC1-22176C08B3D7}"/>
              </a:ext>
            </a:extLst>
          </p:cNvPr>
          <p:cNvSpPr txBox="1"/>
          <p:nvPr/>
        </p:nvSpPr>
        <p:spPr>
          <a:xfrm>
            <a:off x="10166868" y="4719528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 b="1"/>
              <a:t>Unused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4A2B1B9-9752-4C54-58CA-0ABC8C658FC4}"/>
              </a:ext>
            </a:extLst>
          </p:cNvPr>
          <p:cNvGraphicFramePr>
            <a:graphicFrameLocks/>
          </p:cNvGraphicFramePr>
          <p:nvPr/>
        </p:nvGraphicFramePr>
        <p:xfrm>
          <a:off x="742810" y="1188581"/>
          <a:ext cx="4185506" cy="3844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20159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B4DB4D-C5AE-BCE2-7A6E-7A8914601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7F6BEE7-9C2E-EB62-F285-9B5E4A68D88E}"/>
              </a:ext>
            </a:extLst>
          </p:cNvPr>
          <p:cNvSpPr/>
          <p:nvPr/>
        </p:nvSpPr>
        <p:spPr>
          <a:xfrm flipV="1">
            <a:off x="0" y="215419"/>
            <a:ext cx="12192000" cy="48185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FF352245-A6A1-9C9B-4B1E-9BDC3F6D1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545" y="331762"/>
            <a:ext cx="10442908" cy="340115"/>
          </a:xfrm>
        </p:spPr>
        <p:txBody>
          <a:bodyPr/>
          <a:lstStyle/>
          <a:p>
            <a:pPr algn="ctr"/>
            <a:r>
              <a:rPr lang="en-US" sz="2400">
                <a:ea typeface="+mj-lt"/>
                <a:cs typeface="+mj-lt"/>
              </a:rPr>
              <a:t>Set Allowed Levels by Family: What Actually Occurs</a:t>
            </a:r>
            <a:endParaRPr lang="en-US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E719C6D-42DF-F7AE-6A15-CDB99996B6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88" y="5613293"/>
            <a:ext cx="1159542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Outpatient (and partly Inpatient/New Patient) is associated with higher LOS, </a:t>
            </a:r>
            <a:r>
              <a:rPr lang="en-US" altLang="en-US" sz="1200" b="1"/>
              <a:t>L4, L5</a:t>
            </a:r>
            <a:r>
              <a:rPr lang="en-US" altLang="en-US" sz="1200"/>
              <a:t> 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less adjust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Transitional Care, Observation and Eye Exam are concentrated in</a:t>
            </a:r>
            <a:r>
              <a:rPr lang="en-US" altLang="en-US" sz="1200" b="1"/>
              <a:t> L2.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high adjustment</a:t>
            </a:r>
          </a:p>
          <a:p>
            <a:pPr marL="285750" marR="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200"/>
              <a:t>Established Care are majorly lower-level LOS allowed </a:t>
            </a:r>
            <a:r>
              <a:rPr lang="en-US" altLang="en-US" sz="1200" b="1"/>
              <a:t>L3 -&gt;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moderate adjustment</a:t>
            </a:r>
            <a:endParaRPr lang="en-US" altLang="en-US" sz="1200" b="1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987185B-58E7-0F29-426F-A0CB03145DC2}"/>
              </a:ext>
            </a:extLst>
          </p:cNvPr>
          <p:cNvGraphicFramePr>
            <a:graphicFrameLocks/>
          </p:cNvGraphicFramePr>
          <p:nvPr/>
        </p:nvGraphicFramePr>
        <p:xfrm>
          <a:off x="2502567" y="874972"/>
          <a:ext cx="7186864" cy="4586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0BC30E3F-5EFF-6C93-CC83-14B79DF610C8}"/>
              </a:ext>
            </a:extLst>
          </p:cNvPr>
          <p:cNvGrpSpPr/>
          <p:nvPr/>
        </p:nvGrpSpPr>
        <p:grpSpPr>
          <a:xfrm>
            <a:off x="3218510" y="813620"/>
            <a:ext cx="485775" cy="173514"/>
            <a:chOff x="10976472" y="2232802"/>
            <a:chExt cx="485775" cy="17351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DE3A02C-98F2-C969-3E2B-3415EBEA7DDE}"/>
                </a:ext>
              </a:extLst>
            </p:cNvPr>
            <p:cNvSpPr txBox="1"/>
            <p:nvPr/>
          </p:nvSpPr>
          <p:spPr>
            <a:xfrm>
              <a:off x="10976472" y="2232802"/>
              <a:ext cx="485775" cy="14287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600"/>
                <a:t>0.03%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FE4561A-7057-ECD5-9509-C960B084F77E}"/>
                </a:ext>
              </a:extLst>
            </p:cNvPr>
            <p:cNvCxnSpPr/>
            <p:nvPr/>
          </p:nvCxnSpPr>
          <p:spPr>
            <a:xfrm>
              <a:off x="10997579" y="2406316"/>
              <a:ext cx="385010" cy="0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775048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14D36DF-DFEA-EDC5-DC31-C4B486A6610C}"/>
              </a:ext>
            </a:extLst>
          </p:cNvPr>
          <p:cNvSpPr/>
          <p:nvPr/>
        </p:nvSpPr>
        <p:spPr>
          <a:xfrm>
            <a:off x="0" y="0"/>
            <a:ext cx="12192000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FBFE61-598C-3578-0CF9-32586881BA07}"/>
              </a:ext>
            </a:extLst>
          </p:cNvPr>
          <p:cNvSpPr/>
          <p:nvPr/>
        </p:nvSpPr>
        <p:spPr>
          <a:xfrm>
            <a:off x="2171700" y="1924050"/>
            <a:ext cx="7858125" cy="2371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2AFE6F1-BCDE-7804-EB85-E364D357A0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140944"/>
              </p:ext>
            </p:extLst>
          </p:nvPr>
        </p:nvGraphicFramePr>
        <p:xfrm>
          <a:off x="2247997" y="1996016"/>
          <a:ext cx="7696005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5335">
                  <a:extLst>
                    <a:ext uri="{9D8B030D-6E8A-4147-A177-3AD203B41FA5}">
                      <a16:colId xmlns:a16="http://schemas.microsoft.com/office/drawing/2014/main" val="2198837074"/>
                    </a:ext>
                  </a:extLst>
                </a:gridCol>
                <a:gridCol w="2235169">
                  <a:extLst>
                    <a:ext uri="{9D8B030D-6E8A-4147-A177-3AD203B41FA5}">
                      <a16:colId xmlns:a16="http://schemas.microsoft.com/office/drawing/2014/main" val="2328145486"/>
                    </a:ext>
                  </a:extLst>
                </a:gridCol>
                <a:gridCol w="2895501">
                  <a:extLst>
                    <a:ext uri="{9D8B030D-6E8A-4147-A177-3AD203B41FA5}">
                      <a16:colId xmlns:a16="http://schemas.microsoft.com/office/drawing/2014/main" val="10558608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Procedural Fami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Level of 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Adjustments($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5586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Establish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$12,339,6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8105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Eye Ex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$551,1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03888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Inpat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3, 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$6,999,5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324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New Pat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3, 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$1,465,1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65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Outpatient Consu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$6,38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960087"/>
                  </a:ext>
                </a:extLst>
              </a:tr>
            </a:tbl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6EE2D19E-007B-C49E-4A6F-3158878EF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2009" y="1377895"/>
            <a:ext cx="4087980" cy="340115"/>
          </a:xfrm>
        </p:spPr>
        <p:txBody>
          <a:bodyPr/>
          <a:lstStyle/>
          <a:p>
            <a:r>
              <a:rPr lang="en-US" sz="2400"/>
              <a:t>E&amp;M Claims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88759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DE54FB5-9C39-C133-AE6D-B0733F485F5E}"/>
              </a:ext>
            </a:extLst>
          </p:cNvPr>
          <p:cNvSpPr/>
          <p:nvPr/>
        </p:nvSpPr>
        <p:spPr>
          <a:xfrm>
            <a:off x="3569765" y="1024240"/>
            <a:ext cx="8265339" cy="1536495"/>
          </a:xfrm>
          <a:prstGeom prst="rect">
            <a:avLst/>
          </a:prstGeom>
          <a:noFill/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1826ED-411E-D2B1-396C-42A15F8197DD}"/>
              </a:ext>
            </a:extLst>
          </p:cNvPr>
          <p:cNvSpPr/>
          <p:nvPr/>
        </p:nvSpPr>
        <p:spPr>
          <a:xfrm>
            <a:off x="0" y="1"/>
            <a:ext cx="3286664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EB16AE-F8C5-3790-4F19-BEE6CB013BC6}"/>
              </a:ext>
            </a:extLst>
          </p:cNvPr>
          <p:cNvSpPr/>
          <p:nvPr/>
        </p:nvSpPr>
        <p:spPr>
          <a:xfrm>
            <a:off x="214873" y="1024240"/>
            <a:ext cx="2786332" cy="43218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4C2BEC-9556-EA90-9900-BD88A7DD4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/>
          </a:p>
        </p:txBody>
      </p:sp>
      <p:pic>
        <p:nvPicPr>
          <p:cNvPr id="5" name="Picture 4" descr="A person sitting on a rock next to a bridge">
            <a:extLst>
              <a:ext uri="{FF2B5EF4-FFF2-40B4-BE49-F238E27FC236}">
                <a16:creationId xmlns:a16="http://schemas.microsoft.com/office/drawing/2014/main" id="{95F75811-54DC-E54A-FC0E-AD72140F9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" r="61290"/>
          <a:stretch>
            <a:fillRect/>
          </a:stretch>
        </p:blipFill>
        <p:spPr>
          <a:xfrm>
            <a:off x="319227" y="1101878"/>
            <a:ext cx="2582174" cy="3873261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7310C4FE-9A97-705D-5B46-F53C162E9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765" y="521900"/>
            <a:ext cx="8622236" cy="388153"/>
          </a:xfrm>
        </p:spPr>
        <p:txBody>
          <a:bodyPr/>
          <a:lstStyle/>
          <a:p>
            <a:r>
              <a:rPr lang="en-US" sz="2400"/>
              <a:t>Professional Roadmap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36F2DA9-08ED-6659-CFF2-28E8E898A980}"/>
              </a:ext>
            </a:extLst>
          </p:cNvPr>
          <p:cNvSpPr txBox="1">
            <a:spLocks/>
          </p:cNvSpPr>
          <p:nvPr/>
        </p:nvSpPr>
        <p:spPr>
          <a:xfrm>
            <a:off x="214873" y="5078655"/>
            <a:ext cx="2786332" cy="2932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>
                <a:solidFill>
                  <a:schemeClr val="tx1"/>
                </a:solidFill>
              </a:rPr>
              <a:t>Pooja Kabadi</a:t>
            </a:r>
          </a:p>
        </p:txBody>
      </p:sp>
      <p:pic>
        <p:nvPicPr>
          <p:cNvPr id="1026" name="Picture 2" descr="17,500+ Startup Logo Stock Illustrations, Royalty-Free Vector Graphics &amp;  Clip Art - iStock">
            <a:extLst>
              <a:ext uri="{FF2B5EF4-FFF2-40B4-BE49-F238E27FC236}">
                <a16:creationId xmlns:a16="http://schemas.microsoft.com/office/drawing/2014/main" id="{5FA879B9-270A-961D-BD65-A85ECD705F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51" t="26397" r="31601" b="33556"/>
          <a:stretch>
            <a:fillRect/>
          </a:stretch>
        </p:blipFill>
        <p:spPr bwMode="auto">
          <a:xfrm>
            <a:off x="5347148" y="1125084"/>
            <a:ext cx="674653" cy="73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A7262FC3-E1CE-4A3A-46F4-83223444D977}"/>
              </a:ext>
            </a:extLst>
          </p:cNvPr>
          <p:cNvSpPr/>
          <p:nvPr/>
        </p:nvSpPr>
        <p:spPr>
          <a:xfrm>
            <a:off x="6192536" y="1427007"/>
            <a:ext cx="345057" cy="18978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TryEngineering Together - Cricket Media, Inc.">
            <a:extLst>
              <a:ext uri="{FF2B5EF4-FFF2-40B4-BE49-F238E27FC236}">
                <a16:creationId xmlns:a16="http://schemas.microsoft.com/office/drawing/2014/main" id="{15681D87-E687-DDFA-0CA3-64A245D52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328" y="1155275"/>
            <a:ext cx="1401105" cy="73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ACB280B5-BCB9-3AC6-1295-69A2EA5C9AA7}"/>
              </a:ext>
            </a:extLst>
          </p:cNvPr>
          <p:cNvSpPr/>
          <p:nvPr/>
        </p:nvSpPr>
        <p:spPr>
          <a:xfrm>
            <a:off x="8280168" y="1396815"/>
            <a:ext cx="345057" cy="18978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2" name="Picture 8" descr="University at Buffalo Campus Information, Costs and Details">
            <a:extLst>
              <a:ext uri="{FF2B5EF4-FFF2-40B4-BE49-F238E27FC236}">
                <a16:creationId xmlns:a16="http://schemas.microsoft.com/office/drawing/2014/main" id="{C062459B-8CE6-3AB8-B8EE-9270D329C4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5960" y="987502"/>
            <a:ext cx="741871" cy="106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20697885-9874-0A49-D750-3CE4DEC7B850}"/>
              </a:ext>
            </a:extLst>
          </p:cNvPr>
          <p:cNvSpPr/>
          <p:nvPr/>
        </p:nvSpPr>
        <p:spPr>
          <a:xfrm>
            <a:off x="9708566" y="1396815"/>
            <a:ext cx="345057" cy="18978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 descr="TryEngineering Together - Cricket Media, Inc.">
            <a:extLst>
              <a:ext uri="{FF2B5EF4-FFF2-40B4-BE49-F238E27FC236}">
                <a16:creationId xmlns:a16="http://schemas.microsoft.com/office/drawing/2014/main" id="{9F28F294-FC82-AE2D-56DA-4B2C04C24B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6704" y="1155275"/>
            <a:ext cx="1401105" cy="73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">
            <a:extLst>
              <a:ext uri="{FF2B5EF4-FFF2-40B4-BE49-F238E27FC236}">
                <a16:creationId xmlns:a16="http://schemas.microsoft.com/office/drawing/2014/main" id="{986C93E8-B2EE-112C-46F7-5729B08135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8977" y="2949463"/>
            <a:ext cx="8316127" cy="2508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1200" b="1">
                <a:solidFill>
                  <a:srgbClr val="30006F"/>
                </a:solidFill>
              </a:rPr>
              <a:t>Why Cotiviti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Purpose-driven company transforming healthcare through data and analyt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Opportunity to work on impactful, enterprise-scale data produ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Strong culture of innovation, collaboration, and continuous lear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Every project connects technical excellence with measurable business outcomes</a:t>
            </a:r>
          </a:p>
          <a:p>
            <a:br>
              <a:rPr lang="en-US" sz="1100"/>
            </a:br>
            <a:endParaRPr lang="en-US" sz="1200"/>
          </a:p>
          <a:p>
            <a:r>
              <a:rPr lang="en-US" sz="1200" b="1">
                <a:solidFill>
                  <a:srgbClr val="30006F"/>
                </a:solidFill>
              </a:rPr>
              <a:t>What’s Best About Working in the OI Tea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Prior experience with OI in India, familiar culture of </a:t>
            </a:r>
            <a:r>
              <a:rPr lang="en-US" sz="1100" b="1"/>
              <a:t>trust and ownership</a:t>
            </a:r>
            <a:endParaRPr lang="en-US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Encourages </a:t>
            </a:r>
            <a:r>
              <a:rPr lang="en-US" sz="1100" b="1"/>
              <a:t>end-to-end responsibility</a:t>
            </a:r>
            <a:r>
              <a:rPr lang="en-US" sz="1100"/>
              <a:t> with continuous leadership guid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/>
              <a:t>Flat structure:</a:t>
            </a:r>
            <a:r>
              <a:rPr lang="en-US" sz="1100"/>
              <a:t> collaborate directly with CMDs, CPMs, and lea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Steep </a:t>
            </a:r>
            <a:r>
              <a:rPr lang="en-US" sz="1100" b="1"/>
              <a:t>learning curve</a:t>
            </a:r>
            <a:r>
              <a:rPr lang="en-US" sz="1100"/>
              <a:t> with exposure to both business and technical sid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Work with inspiring mentors like </a:t>
            </a:r>
            <a:r>
              <a:rPr lang="en-US" sz="1100" b="1"/>
              <a:t>Jon, Roland, Pranay, Des &amp; back in India with Namrata, Sanket, Nitin and Preeti</a:t>
            </a:r>
            <a:endParaRPr lang="en-US" sz="11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See your work’s </a:t>
            </a:r>
            <a:r>
              <a:rPr lang="en-US" sz="1100" b="1"/>
              <a:t>real impact</a:t>
            </a:r>
            <a:r>
              <a:rPr lang="en-US" sz="1100"/>
              <a:t> once analytics solutions go live</a:t>
            </a:r>
          </a:p>
        </p:txBody>
      </p:sp>
      <p:sp>
        <p:nvSpPr>
          <p:cNvPr id="16" name="Rectangle 1">
            <a:extLst>
              <a:ext uri="{FF2B5EF4-FFF2-40B4-BE49-F238E27FC236}">
                <a16:creationId xmlns:a16="http://schemas.microsoft.com/office/drawing/2014/main" id="{0541346B-DD80-62C9-3F79-913AAE572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0509" y="1851785"/>
            <a:ext cx="1401105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rgbClr val="30006F"/>
                </a:solidFill>
              </a:rPr>
              <a:t>Data Analytics Consultant </a:t>
            </a:r>
            <a:br>
              <a:rPr lang="en-US" altLang="en-US" sz="1050"/>
            </a:br>
            <a:r>
              <a:rPr lang="en-US" altLang="en-US" sz="1050">
                <a:solidFill>
                  <a:schemeClr val="bg1">
                    <a:lumMod val="50000"/>
                  </a:schemeClr>
                </a:solidFill>
              </a:rPr>
              <a:t>LEAD</a:t>
            </a:r>
            <a:endParaRPr lang="en-US" altLang="en-US" sz="105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ectangle 1">
            <a:extLst>
              <a:ext uri="{FF2B5EF4-FFF2-40B4-BE49-F238E27FC236}">
                <a16:creationId xmlns:a16="http://schemas.microsoft.com/office/drawing/2014/main" id="{EB5DAF44-B489-1653-1B12-5C5E152F0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2130" y="1849307"/>
            <a:ext cx="1667342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rgbClr val="30006F"/>
                </a:solidFill>
              </a:rPr>
              <a:t>Business Intelligence Developer</a:t>
            </a:r>
            <a:br>
              <a:rPr lang="en-US" altLang="en-US" sz="1050"/>
            </a:br>
            <a:r>
              <a:rPr lang="en-US" altLang="en-US" sz="1050">
                <a:solidFill>
                  <a:schemeClr val="bg1">
                    <a:lumMod val="50000"/>
                  </a:schemeClr>
                </a:solidFill>
              </a:rPr>
              <a:t>COTIVITI</a:t>
            </a:r>
            <a:endParaRPr lang="en-US" altLang="en-US" sz="105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AEC02181-3B60-DDA0-7D14-EF167A46D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9989" y="1851784"/>
            <a:ext cx="1573634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rgbClr val="30006F"/>
                </a:solidFill>
              </a:rPr>
              <a:t>Business Data Analyst</a:t>
            </a:r>
            <a:br>
              <a:rPr lang="en-US" altLang="en-US" sz="1050"/>
            </a:br>
            <a:r>
              <a:rPr lang="en-US" altLang="en-US" sz="1050">
                <a:solidFill>
                  <a:schemeClr val="bg1">
                    <a:lumMod val="50000"/>
                  </a:schemeClr>
                </a:solidFill>
              </a:rPr>
              <a:t>University at Buffalo</a:t>
            </a:r>
            <a:endParaRPr lang="en-US" altLang="en-US" sz="105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Rectangle 1">
            <a:extLst>
              <a:ext uri="{FF2B5EF4-FFF2-40B4-BE49-F238E27FC236}">
                <a16:creationId xmlns:a16="http://schemas.microsoft.com/office/drawing/2014/main" id="{A72BCFED-D79A-B293-5E8A-C78F02D2E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1471" y="1851783"/>
            <a:ext cx="1573634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rgbClr val="30006F"/>
                </a:solidFill>
              </a:rPr>
              <a:t>Data &amp; Insight Analyst Intern</a:t>
            </a:r>
            <a:br>
              <a:rPr lang="en-US" altLang="en-US" sz="1050"/>
            </a:br>
            <a:r>
              <a:rPr lang="en-US" altLang="en-US" sz="1050">
                <a:solidFill>
                  <a:schemeClr val="bg1">
                    <a:lumMod val="50000"/>
                  </a:schemeClr>
                </a:solidFill>
              </a:rPr>
              <a:t>COTIVITI</a:t>
            </a:r>
            <a:endParaRPr lang="en-US" altLang="en-US" sz="1050" b="1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34" name="Picture 10" descr="Building icon vector set. apartment illustration sign collection. skyscraper symbol. architecture logo.">
            <a:extLst>
              <a:ext uri="{FF2B5EF4-FFF2-40B4-BE49-F238E27FC236}">
                <a16:creationId xmlns:a16="http://schemas.microsoft.com/office/drawing/2014/main" id="{B293AD4E-39DB-3044-D02B-508608F8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927" t="52019"/>
          <a:stretch>
            <a:fillRect/>
          </a:stretch>
        </p:blipFill>
        <p:spPr bwMode="auto">
          <a:xfrm>
            <a:off x="3906272" y="1177153"/>
            <a:ext cx="701020" cy="696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Arrow: Right 21">
            <a:extLst>
              <a:ext uri="{FF2B5EF4-FFF2-40B4-BE49-F238E27FC236}">
                <a16:creationId xmlns:a16="http://schemas.microsoft.com/office/drawing/2014/main" id="{1EF9BE44-CB32-9237-970F-F06B085E63A4}"/>
              </a:ext>
            </a:extLst>
          </p:cNvPr>
          <p:cNvSpPr/>
          <p:nvPr/>
        </p:nvSpPr>
        <p:spPr>
          <a:xfrm>
            <a:off x="4766926" y="1427005"/>
            <a:ext cx="345057" cy="18978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">
            <a:extLst>
              <a:ext uri="{FF2B5EF4-FFF2-40B4-BE49-F238E27FC236}">
                <a16:creationId xmlns:a16="http://schemas.microsoft.com/office/drawing/2014/main" id="{ED77D2CF-230D-E0F2-9716-076886E533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6230" y="1902383"/>
            <a:ext cx="1401105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rgbClr val="30006F"/>
                </a:solidFill>
              </a:rPr>
              <a:t>Architect</a:t>
            </a:r>
            <a:br>
              <a:rPr lang="en-US" altLang="en-US" sz="1050"/>
            </a:br>
            <a:r>
              <a:rPr lang="en-US" altLang="en-US" sz="1050">
                <a:solidFill>
                  <a:schemeClr val="bg1">
                    <a:lumMod val="50000"/>
                  </a:schemeClr>
                </a:solidFill>
              </a:rPr>
              <a:t>Urban Frame</a:t>
            </a:r>
            <a:endParaRPr lang="en-US" altLang="en-US" sz="105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21F5CED5-65A5-AF66-248E-A9E38F445745}"/>
              </a:ext>
            </a:extLst>
          </p:cNvPr>
          <p:cNvSpPr txBox="1">
            <a:spLocks/>
          </p:cNvSpPr>
          <p:nvPr/>
        </p:nvSpPr>
        <p:spPr>
          <a:xfrm>
            <a:off x="3391018" y="2840956"/>
            <a:ext cx="8905336" cy="388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6147289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C45A3-AD3F-BAC3-E11C-5520A3AE6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54331CD-603D-4F32-9BE3-2F19C187E5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9740660"/>
              </p:ext>
            </p:extLst>
          </p:nvPr>
        </p:nvGraphicFramePr>
        <p:xfrm>
          <a:off x="1457430" y="1087892"/>
          <a:ext cx="9277140" cy="4128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6F2B0080-9772-5E01-1181-19A90A08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603" y="408163"/>
            <a:ext cx="10608794" cy="340115"/>
          </a:xfrm>
        </p:spPr>
        <p:txBody>
          <a:bodyPr/>
          <a:lstStyle/>
          <a:p>
            <a:r>
              <a:rPr lang="en-US" sz="2400"/>
              <a:t>Pareto of Volume - Focus on Top procedure that drive most activ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4DE8D7-5D89-216E-DE04-EB19CD644578}"/>
              </a:ext>
            </a:extLst>
          </p:cNvPr>
          <p:cNvSpPr txBox="1"/>
          <p:nvPr/>
        </p:nvSpPr>
        <p:spPr>
          <a:xfrm>
            <a:off x="867910" y="5556477"/>
            <a:ext cx="104561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/>
              <a:t>NEWOV, IPCON, IPADM, ESTOV, IPFUV</a:t>
            </a:r>
            <a:r>
              <a:rPr lang="en-US" sz="1400"/>
              <a:t> (leftmost bars) are the </a:t>
            </a:r>
            <a:r>
              <a:rPr lang="en-US" sz="1400" b="1"/>
              <a:t>top volume drivers, </a:t>
            </a:r>
            <a:r>
              <a:rPr lang="en-US" sz="1400"/>
              <a:t>standardizing these first gives the fastest impact.</a:t>
            </a:r>
          </a:p>
        </p:txBody>
      </p:sp>
    </p:spTree>
    <p:extLst>
      <p:ext uri="{BB962C8B-B14F-4D97-AF65-F5344CB8AC3E}">
        <p14:creationId xmlns:p14="http://schemas.microsoft.com/office/powerpoint/2010/main" val="15773428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E9C5EC-29B2-FAC3-E30A-EEFDD5523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483C89-B5BD-31F5-F5A5-0F30262A7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1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513C62-3349-42EA-A80F-8DD1284EE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8160" y="187808"/>
            <a:ext cx="5615673" cy="508000"/>
          </a:xfrm>
        </p:spPr>
        <p:txBody>
          <a:bodyPr/>
          <a:lstStyle/>
          <a:p>
            <a:r>
              <a:rPr lang="en-US" sz="2400"/>
              <a:t>Data Transformation </a:t>
            </a:r>
            <a:r>
              <a:rPr lang="en-US" sz="1800"/>
              <a:t>(Wide → Long)</a:t>
            </a:r>
            <a:endParaRPr lang="en-US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8CEA74D1-68BE-A683-858F-10D5DBBB7F6C}"/>
              </a:ext>
            </a:extLst>
          </p:cNvPr>
          <p:cNvSpPr/>
          <p:nvPr/>
        </p:nvSpPr>
        <p:spPr>
          <a:xfrm rot="5400000">
            <a:off x="1767624" y="2708537"/>
            <a:ext cx="487943" cy="39200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4167EB2-CAFF-FA0F-BD13-2EFE67F9BBC0}"/>
              </a:ext>
            </a:extLst>
          </p:cNvPr>
          <p:cNvGrpSpPr/>
          <p:nvPr/>
        </p:nvGrpSpPr>
        <p:grpSpPr>
          <a:xfrm>
            <a:off x="-3" y="695808"/>
            <a:ext cx="12192003" cy="1857269"/>
            <a:chOff x="-3" y="695808"/>
            <a:chExt cx="12192003" cy="185726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4F89620-74BA-C3A7-CDF8-307DA6244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95808"/>
              <a:ext cx="12192000" cy="1527456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30C9876-0022-A772-D7F0-2BC18820BFBF}"/>
                </a:ext>
              </a:extLst>
            </p:cNvPr>
            <p:cNvCxnSpPr/>
            <p:nvPr/>
          </p:nvCxnSpPr>
          <p:spPr>
            <a:xfrm>
              <a:off x="-3" y="2553077"/>
              <a:ext cx="1219200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E15675A-40E5-3B10-BB68-A076A7AD5A70}"/>
                </a:ext>
              </a:extLst>
            </p:cNvPr>
            <p:cNvSpPr txBox="1"/>
            <p:nvPr/>
          </p:nvSpPr>
          <p:spPr>
            <a:xfrm>
              <a:off x="3473667" y="222326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F84F7A7-A070-C807-1196-D93A65F20500}"/>
                </a:ext>
              </a:extLst>
            </p:cNvPr>
            <p:cNvSpPr txBox="1"/>
            <p:nvPr/>
          </p:nvSpPr>
          <p:spPr>
            <a:xfrm>
              <a:off x="3914139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2EBB3B3-DC3B-1643-AA72-FF2C73152E49}"/>
                </a:ext>
              </a:extLst>
            </p:cNvPr>
            <p:cNvSpPr txBox="1"/>
            <p:nvPr/>
          </p:nvSpPr>
          <p:spPr>
            <a:xfrm>
              <a:off x="4354611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EB82F2D-AFEE-6964-A058-3ECD3AF47F6E}"/>
                </a:ext>
              </a:extLst>
            </p:cNvPr>
            <p:cNvSpPr txBox="1"/>
            <p:nvPr/>
          </p:nvSpPr>
          <p:spPr>
            <a:xfrm>
              <a:off x="4795083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C58403-D673-BA1E-7A93-235514345E49}"/>
                </a:ext>
              </a:extLst>
            </p:cNvPr>
            <p:cNvSpPr txBox="1"/>
            <p:nvPr/>
          </p:nvSpPr>
          <p:spPr>
            <a:xfrm>
              <a:off x="5235555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339D51C-86A7-8007-5B4B-324A480FF236}"/>
                </a:ext>
              </a:extLst>
            </p:cNvPr>
            <p:cNvSpPr txBox="1"/>
            <p:nvPr/>
          </p:nvSpPr>
          <p:spPr>
            <a:xfrm>
              <a:off x="567602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E12B238-0010-A251-FDBE-647ECD4197B3}"/>
                </a:ext>
              </a:extLst>
            </p:cNvPr>
            <p:cNvSpPr txBox="1"/>
            <p:nvPr/>
          </p:nvSpPr>
          <p:spPr>
            <a:xfrm>
              <a:off x="6071852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0B8AE6C-86E0-F980-488B-5E8C86CA66F4}"/>
                </a:ext>
              </a:extLst>
            </p:cNvPr>
            <p:cNvSpPr txBox="1"/>
            <p:nvPr/>
          </p:nvSpPr>
          <p:spPr>
            <a:xfrm>
              <a:off x="6533741" y="219104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2C59371-7722-F1EB-606D-7DC19AFF8679}"/>
                </a:ext>
              </a:extLst>
            </p:cNvPr>
            <p:cNvSpPr txBox="1"/>
            <p:nvPr/>
          </p:nvSpPr>
          <p:spPr>
            <a:xfrm>
              <a:off x="6995630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BD3E5D8-2F59-B46D-444C-F9AC4F984D59}"/>
                </a:ext>
              </a:extLst>
            </p:cNvPr>
            <p:cNvSpPr txBox="1"/>
            <p:nvPr/>
          </p:nvSpPr>
          <p:spPr>
            <a:xfrm>
              <a:off x="7414685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F5D778-7673-1B48-88E3-C0E6B7512E6E}"/>
                </a:ext>
              </a:extLst>
            </p:cNvPr>
            <p:cNvSpPr txBox="1"/>
            <p:nvPr/>
          </p:nvSpPr>
          <p:spPr>
            <a:xfrm>
              <a:off x="7853344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E85FECD-1C4F-D2D2-7CC3-7A4DC3772441}"/>
                </a:ext>
              </a:extLst>
            </p:cNvPr>
            <p:cNvSpPr txBox="1"/>
            <p:nvPr/>
          </p:nvSpPr>
          <p:spPr>
            <a:xfrm>
              <a:off x="8285008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15B5144-DCC1-ED80-4652-C5DF0BC575DA}"/>
                </a:ext>
              </a:extLst>
            </p:cNvPr>
            <p:cNvSpPr txBox="1"/>
            <p:nvPr/>
          </p:nvSpPr>
          <p:spPr>
            <a:xfrm>
              <a:off x="8723667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4B5082F-51B3-E87A-537C-4A5BC0A349CB}"/>
                </a:ext>
              </a:extLst>
            </p:cNvPr>
            <p:cNvSpPr txBox="1"/>
            <p:nvPr/>
          </p:nvSpPr>
          <p:spPr>
            <a:xfrm>
              <a:off x="917294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63EF921-C1B4-C23C-F7C7-0E14C3E08ADE}"/>
                </a:ext>
              </a:extLst>
            </p:cNvPr>
            <p:cNvSpPr txBox="1"/>
            <p:nvPr/>
          </p:nvSpPr>
          <p:spPr>
            <a:xfrm>
              <a:off x="9634836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E7AE95A-758B-D72C-B535-5002C71759F5}"/>
                </a:ext>
              </a:extLst>
            </p:cNvPr>
            <p:cNvSpPr txBox="1"/>
            <p:nvPr/>
          </p:nvSpPr>
          <p:spPr>
            <a:xfrm>
              <a:off x="10096725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9B05806-A297-71AB-C3CE-150E5161C10B}"/>
                </a:ext>
              </a:extLst>
            </p:cNvPr>
            <p:cNvSpPr txBox="1"/>
            <p:nvPr/>
          </p:nvSpPr>
          <p:spPr>
            <a:xfrm>
              <a:off x="10546005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986AF5F-348C-96E3-47ED-03218F24DE27}"/>
                </a:ext>
              </a:extLst>
            </p:cNvPr>
            <p:cNvSpPr txBox="1"/>
            <p:nvPr/>
          </p:nvSpPr>
          <p:spPr>
            <a:xfrm>
              <a:off x="10995285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5829D9A-B084-5F70-4C75-57B7AA77B756}"/>
                </a:ext>
              </a:extLst>
            </p:cNvPr>
            <p:cNvSpPr txBox="1"/>
            <p:nvPr/>
          </p:nvSpPr>
          <p:spPr>
            <a:xfrm>
              <a:off x="11438898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8F9C0F-9AF2-C9F7-15CC-64101696CCC2}"/>
                </a:ext>
              </a:extLst>
            </p:cNvPr>
            <p:cNvSpPr txBox="1"/>
            <p:nvPr/>
          </p:nvSpPr>
          <p:spPr>
            <a:xfrm>
              <a:off x="11879370" y="2192166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EC3851D-5994-3B32-E109-AB8801B71805}"/>
              </a:ext>
            </a:extLst>
          </p:cNvPr>
          <p:cNvGrpSpPr/>
          <p:nvPr/>
        </p:nvGrpSpPr>
        <p:grpSpPr>
          <a:xfrm>
            <a:off x="770493" y="3255999"/>
            <a:ext cx="2482207" cy="3012861"/>
            <a:chOff x="4854895" y="3420906"/>
            <a:chExt cx="2482207" cy="301286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7176517-F7BB-0988-9450-1F36E7089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54895" y="3420906"/>
              <a:ext cx="2482207" cy="268304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6F850FE-F9F0-6E13-91F0-1D237005E4EB}"/>
                </a:ext>
              </a:extLst>
            </p:cNvPr>
            <p:cNvSpPr txBox="1"/>
            <p:nvPr/>
          </p:nvSpPr>
          <p:spPr>
            <a:xfrm>
              <a:off x="4948993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F7450D9-323A-3A31-0318-C90B6C0FCC1D}"/>
                </a:ext>
              </a:extLst>
            </p:cNvPr>
            <p:cNvSpPr/>
            <p:nvPr/>
          </p:nvSpPr>
          <p:spPr>
            <a:xfrm>
              <a:off x="4854895" y="6103955"/>
              <a:ext cx="2482207" cy="329812"/>
            </a:xfrm>
            <a:prstGeom prst="rect">
              <a:avLst/>
            </a:prstGeom>
            <a:noFill/>
            <a:ln w="63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9B3DC4E-2491-6685-0E41-0562F69A7998}"/>
                </a:ext>
              </a:extLst>
            </p:cNvPr>
            <p:cNvSpPr txBox="1"/>
            <p:nvPr/>
          </p:nvSpPr>
          <p:spPr>
            <a:xfrm>
              <a:off x="5263239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0892F5D-75FE-3D79-E995-8239E2CCFB3D}"/>
                </a:ext>
              </a:extLst>
            </p:cNvPr>
            <p:cNvSpPr txBox="1"/>
            <p:nvPr/>
          </p:nvSpPr>
          <p:spPr>
            <a:xfrm>
              <a:off x="5595096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3106C7D-7E68-EFF2-0FFC-36971598AE56}"/>
                </a:ext>
              </a:extLst>
            </p:cNvPr>
            <p:cNvSpPr txBox="1"/>
            <p:nvPr/>
          </p:nvSpPr>
          <p:spPr>
            <a:xfrm>
              <a:off x="5914094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F56FA87-2C65-7C88-AC86-4E4E559F1047}"/>
                </a:ext>
              </a:extLst>
            </p:cNvPr>
            <p:cNvSpPr txBox="1"/>
            <p:nvPr/>
          </p:nvSpPr>
          <p:spPr>
            <a:xfrm>
              <a:off x="6376600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B8A96BF-6C80-B2D0-E58C-11EF429B61BC}"/>
                </a:ext>
              </a:extLst>
            </p:cNvPr>
            <p:cNvSpPr txBox="1"/>
            <p:nvPr/>
          </p:nvSpPr>
          <p:spPr>
            <a:xfrm>
              <a:off x="7087601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45CB074A-A56C-1027-A38C-7B9C3C248521}"/>
              </a:ext>
            </a:extLst>
          </p:cNvPr>
          <p:cNvSpPr txBox="1"/>
          <p:nvPr/>
        </p:nvSpPr>
        <p:spPr>
          <a:xfrm>
            <a:off x="543208" y="3693814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090AA6A3-1B1D-AA82-3507-6E6DE97D2C86}"/>
              </a:ext>
            </a:extLst>
          </p:cNvPr>
          <p:cNvSpPr txBox="1">
            <a:spLocks/>
          </p:cNvSpPr>
          <p:nvPr/>
        </p:nvSpPr>
        <p:spPr>
          <a:xfrm>
            <a:off x="4190302" y="3238874"/>
            <a:ext cx="7689068" cy="18242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tx1"/>
                </a:solidFill>
              </a:rPr>
              <a:t>Wide data: 27 columns x 184K rows</a:t>
            </a:r>
          </a:p>
          <a:p>
            <a:r>
              <a:rPr lang="en-US" sz="1400">
                <a:solidFill>
                  <a:schemeClr val="tx1"/>
                </a:solidFill>
              </a:rPr>
              <a:t>Long data: 7 columns x 4.1M rows </a:t>
            </a:r>
          </a:p>
          <a:p>
            <a:r>
              <a:rPr lang="en-US" sz="1400">
                <a:solidFill>
                  <a:schemeClr val="tx1"/>
                </a:solidFill>
              </a:rPr>
              <a:t>Data transformation standardizes raw inputs into an analysis-ready format.</a:t>
            </a:r>
            <a:endParaRPr lang="en-US"/>
          </a:p>
          <a:p>
            <a:endParaRPr lang="en-US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74FB7F30-CCDE-5A33-5384-7D9B37AD2A82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3831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F7EEBC-1D96-5888-6464-9E722F879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4291B-06F7-81F0-9AC7-2D50C7ACB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9885" y="988154"/>
            <a:ext cx="11434916" cy="221248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 b="1">
                <a:solidFill>
                  <a:schemeClr val="tx1"/>
                </a:solidFill>
              </a:rPr>
              <a:t>Standardization &amp; Cleaning Data: </a:t>
            </a:r>
          </a:p>
          <a:p>
            <a:r>
              <a:rPr lang="en-US" sz="1400" b="1">
                <a:solidFill>
                  <a:schemeClr val="tx1"/>
                </a:solidFill>
              </a:rPr>
              <a:t>Text cleanup:</a:t>
            </a:r>
            <a:r>
              <a:rPr lang="en-US" sz="1400">
                <a:solidFill>
                  <a:schemeClr val="tx1"/>
                </a:solidFill>
              </a:rPr>
              <a:t> removed odd spaces (NBSP), trimmed, upper-cased codes/groups; de-duplicated exact row duplicates using python libraries.</a:t>
            </a:r>
          </a:p>
          <a:p>
            <a:r>
              <a:rPr lang="en-US" sz="1400" b="1">
                <a:solidFill>
                  <a:schemeClr val="tx1"/>
                </a:solidFill>
              </a:rPr>
              <a:t>ICD normalization:</a:t>
            </a:r>
            <a:r>
              <a:rPr lang="en-US" sz="1400">
                <a:solidFill>
                  <a:schemeClr val="tx1"/>
                </a:solidFill>
              </a:rPr>
              <a:t> built a </a:t>
            </a:r>
            <a:r>
              <a:rPr lang="en-US" sz="1400" b="1">
                <a:solidFill>
                  <a:schemeClr val="tx1"/>
                </a:solidFill>
              </a:rPr>
              <a:t>robust ICD “root”</a:t>
            </a:r>
            <a:r>
              <a:rPr lang="en-US" sz="1400">
                <a:solidFill>
                  <a:schemeClr val="tx1"/>
                </a:solidFill>
              </a:rPr>
              <a:t> = text left of the decimal for initial analysis (e.g., 003.21, 3.02.3.2 → root 3; J45.9, J45.2 → root J45)</a:t>
            </a:r>
          </a:p>
          <a:p>
            <a:r>
              <a:rPr lang="en-US" sz="1400" b="1">
                <a:solidFill>
                  <a:schemeClr val="tx1"/>
                </a:solidFill>
              </a:rPr>
              <a:t>Consistent types:</a:t>
            </a:r>
            <a:r>
              <a:rPr lang="en-US" sz="1400">
                <a:solidFill>
                  <a:schemeClr val="tx1"/>
                </a:solidFill>
              </a:rPr>
              <a:t> coerced LOS to numeric; preserved nulls for coverage analysis.</a:t>
            </a:r>
          </a:p>
          <a:p>
            <a:r>
              <a:rPr lang="en-US" sz="1400">
                <a:solidFill>
                  <a:schemeClr val="tx1"/>
                </a:solidFill>
              </a:rPr>
              <a:t>Trustworthy baseline: clean, consistent inputs → defensible E&amp;M benchmarks.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93FA15-8A7D-DF16-83EC-A95E3F7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885" y="199462"/>
            <a:ext cx="3475702" cy="651040"/>
          </a:xfrm>
        </p:spPr>
        <p:txBody>
          <a:bodyPr/>
          <a:lstStyle/>
          <a:p>
            <a:r>
              <a:rPr lang="en-US" sz="2400"/>
              <a:t>Data Preprocessing</a:t>
            </a:r>
          </a:p>
        </p:txBody>
      </p:sp>
    </p:spTree>
    <p:extLst>
      <p:ext uri="{BB962C8B-B14F-4D97-AF65-F5344CB8AC3E}">
        <p14:creationId xmlns:p14="http://schemas.microsoft.com/office/powerpoint/2010/main" val="4143570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5BFA1-D859-71BD-5B82-5C07EE84FC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6B76F2-67C7-1AC7-67D1-BB0292AA4B11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388783-79D5-BA75-226A-76FB71CB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3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1E7D92EC-CC72-1F49-46B3-A65A69FF0B3D}"/>
              </a:ext>
            </a:extLst>
          </p:cNvPr>
          <p:cNvSpPr txBox="1">
            <a:spLocks/>
          </p:cNvSpPr>
          <p:nvPr/>
        </p:nvSpPr>
        <p:spPr>
          <a:xfrm>
            <a:off x="2743098" y="380999"/>
            <a:ext cx="8991703" cy="594360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>
                <a:solidFill>
                  <a:schemeClr val="tx1"/>
                </a:solidFill>
              </a:rPr>
              <a:t> LOS where it’s appropriate. </a:t>
            </a:r>
          </a:p>
          <a:p>
            <a:pPr marL="0" indent="0">
              <a:buNone/>
            </a:pPr>
            <a:endParaRPr lang="en-US" sz="140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Compliance &amp; transparency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sz="140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Next Steps:</a:t>
            </a:r>
          </a:p>
          <a:p>
            <a:pPr algn="just" eaLnBrk="0" fontAlgn="base" hangingPunct="0">
              <a:spcBef>
                <a:spcPts val="1000"/>
              </a:spcBef>
            </a:pPr>
            <a:r>
              <a:rPr lang="en-US" altLang="en-US" sz="1400">
                <a:solidFill>
                  <a:schemeClr val="tx1"/>
                </a:solidFill>
              </a:rPr>
              <a:t>We’ve completed the descriptive baseline from RMI (allowed LOS) at ICD-root × CPT.</a:t>
            </a:r>
          </a:p>
          <a:p>
            <a:pPr algn="just" eaLnBrk="0" fontAlgn="base" hangingPunct="0">
              <a:spcBef>
                <a:spcPct val="0"/>
              </a:spcBef>
            </a:pPr>
            <a:r>
              <a:rPr lang="en-US" altLang="en-US" sz="1400">
                <a:solidFill>
                  <a:schemeClr val="accent3"/>
                </a:solidFill>
              </a:rPr>
              <a:t>Next: </a:t>
            </a:r>
            <a:r>
              <a:rPr lang="en-US" altLang="en-US" sz="1400">
                <a:solidFill>
                  <a:schemeClr val="tx1"/>
                </a:solidFill>
              </a:rPr>
              <a:t>validate against claims (billed LOS + $ adjustments), quantify misalignment, and refine rules with SME sign-off.</a:t>
            </a:r>
          </a:p>
          <a:p>
            <a:pPr algn="just" eaLnBrk="0" fontAlgn="base" hangingPunct="0">
              <a:spcBef>
                <a:spcPct val="0"/>
              </a:spcBef>
            </a:pPr>
            <a:r>
              <a:rPr lang="en-US" altLang="en-US" sz="1400">
                <a:solidFill>
                  <a:schemeClr val="accent3"/>
                </a:solidFill>
              </a:rPr>
              <a:t>Then: </a:t>
            </a:r>
            <a:r>
              <a:rPr lang="en-US" altLang="en-US" sz="1400">
                <a:solidFill>
                  <a:schemeClr val="tx1"/>
                </a:solidFill>
              </a:rPr>
              <a:t>deploy a predictive model to recommend LOS for new/sparse ICD×CPT pairs, publish versioned policy rules, automate application, and monitor drift</a:t>
            </a: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endParaRPr lang="en-US">
              <a:solidFill>
                <a:schemeClr val="tx1"/>
              </a:solidFill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D34FE026-323A-35E0-297C-AC95C6CD5D1E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63BEC-2006-ACC7-AE48-912EECB210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380999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F4ECE90-6DB0-97B2-EDDC-7475519433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2694624"/>
            <a:ext cx="954866" cy="954866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BBC6CE39-CAD1-FECA-BFE0-E3238F6B99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64" y="4796737"/>
            <a:ext cx="954867" cy="9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549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5BFA1-D859-71BD-5B82-5C07EE84FC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6B76F2-67C7-1AC7-67D1-BB0292AA4B11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388783-79D5-BA75-226A-76FB71CB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4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1E7D92EC-CC72-1F49-46B3-A65A69FF0B3D}"/>
              </a:ext>
            </a:extLst>
          </p:cNvPr>
          <p:cNvSpPr txBox="1">
            <a:spLocks/>
          </p:cNvSpPr>
          <p:nvPr/>
        </p:nvSpPr>
        <p:spPr>
          <a:xfrm>
            <a:off x="2743098" y="380999"/>
            <a:ext cx="8991703" cy="594360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>
                <a:solidFill>
                  <a:schemeClr val="tx1"/>
                </a:solidFill>
              </a:rPr>
              <a:t> LOS where it’s appropriate. </a:t>
            </a:r>
          </a:p>
          <a:p>
            <a:pPr marL="0" indent="0">
              <a:buNone/>
            </a:pPr>
            <a:endParaRPr lang="en-US" sz="140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>
                <a:solidFill>
                  <a:schemeClr val="tx1"/>
                </a:solidFill>
              </a:rPr>
              <a:t>Compliance &amp; transparency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sz="140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>
                <a:ea typeface="+mj-ea"/>
                <a:cs typeface="+mj-cs"/>
              </a:rPr>
              <a:t>Next Steps:</a:t>
            </a:r>
          </a:p>
          <a:p>
            <a:pPr eaLnBrk="0" fontAlgn="base" hangingPunct="0">
              <a:spcBef>
                <a:spcPts val="100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tx1"/>
                </a:solidFill>
              </a:rPr>
              <a:t>We’ve completed the descriptive baseline from RMI (allowed LOS) at ICD-root × CPT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accent3"/>
                </a:solidFill>
              </a:rPr>
              <a:t>Next: </a:t>
            </a:r>
            <a:r>
              <a:rPr lang="en-US" altLang="en-US" sz="1400">
                <a:solidFill>
                  <a:schemeClr val="tx1"/>
                </a:solidFill>
              </a:rPr>
              <a:t>validate against claims (billed LOS + $ adjustments), quantify misalignment, and refine rules with SME sign-off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accent3"/>
                </a:solidFill>
              </a:rPr>
              <a:t>Then: </a:t>
            </a:r>
            <a:r>
              <a:rPr lang="en-US" altLang="en-US" sz="1400">
                <a:solidFill>
                  <a:schemeClr val="tx1"/>
                </a:solidFill>
              </a:rPr>
              <a:t>deploy a predictive model to recommend LOS for new/sparse ICD×CPT pairs, publish versioned policy rules, automate application, and monitor drift</a:t>
            </a: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>
              <a:ea typeface="+mj-ea"/>
              <a:cs typeface="+mj-cs"/>
            </a:endParaRPr>
          </a:p>
          <a:p>
            <a:endParaRPr lang="en-US">
              <a:solidFill>
                <a:schemeClr val="tx1"/>
              </a:solidFill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D34FE026-323A-35E0-297C-AC95C6CD5D1E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63BEC-2006-ACC7-AE48-912EECB210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380999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F4ECE90-6DB0-97B2-EDDC-7475519433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2694624"/>
            <a:ext cx="954866" cy="954866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BBC6CE39-CAD1-FECA-BFE0-E3238F6B99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64" y="4796737"/>
            <a:ext cx="954867" cy="9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67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4DCA07FB-C29D-3644-1169-04D5098E216E}"/>
              </a:ext>
            </a:extLst>
          </p:cNvPr>
          <p:cNvSpPr/>
          <p:nvPr/>
        </p:nvSpPr>
        <p:spPr>
          <a:xfrm>
            <a:off x="0" y="1"/>
            <a:ext cx="5745330" cy="6477000"/>
          </a:xfrm>
          <a:prstGeom prst="rect">
            <a:avLst/>
          </a:pr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6106D5-EA6E-833D-E030-21B0D10A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5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DE4EA8E-FEAB-8AA2-B4EE-F8CE249D47C2}"/>
              </a:ext>
            </a:extLst>
          </p:cNvPr>
          <p:cNvGraphicFramePr>
            <a:graphicFrameLocks/>
          </p:cNvGraphicFramePr>
          <p:nvPr/>
        </p:nvGraphicFramePr>
        <p:xfrm>
          <a:off x="1032622" y="498369"/>
          <a:ext cx="3553848" cy="3663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31FACAA5-D6BB-C72D-F5A7-18E5E84DCFD5}"/>
              </a:ext>
            </a:extLst>
          </p:cNvPr>
          <p:cNvGraphicFramePr>
            <a:graphicFrameLocks/>
          </p:cNvGraphicFramePr>
          <p:nvPr/>
        </p:nvGraphicFramePr>
        <p:xfrm>
          <a:off x="6209798" y="788027"/>
          <a:ext cx="5382127" cy="391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 1">
            <a:extLst>
              <a:ext uri="{FF2B5EF4-FFF2-40B4-BE49-F238E27FC236}">
                <a16:creationId xmlns:a16="http://schemas.microsoft.com/office/drawing/2014/main" id="{85FFADD1-24AA-9FD2-8FC9-A09A3153A4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7126" y="4835251"/>
            <a:ext cx="5544799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Outpatient (and partly Inpatient/New Patient) is associated with higher LOS, </a:t>
            </a:r>
            <a:r>
              <a:rPr lang="en-US" altLang="en-US" sz="1200" b="1"/>
              <a:t>L4, L5</a:t>
            </a:r>
            <a:r>
              <a:rPr lang="en-US" altLang="en-US" sz="1200"/>
              <a:t> 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less adjust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/>
              <a:t>Transitional Care, Observation and Eye Exam are concentrated in</a:t>
            </a:r>
            <a:r>
              <a:rPr lang="en-US" altLang="en-US" sz="1200" b="1"/>
              <a:t> L2.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high adjustment</a:t>
            </a:r>
          </a:p>
          <a:p>
            <a:pPr marL="285750" marR="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200"/>
              <a:t>Established Care are majorly lower-level LOS allowed </a:t>
            </a:r>
            <a:r>
              <a:rPr lang="en-US" altLang="en-US" sz="1200" b="1"/>
              <a:t>L3 -&gt; </a:t>
            </a:r>
            <a:r>
              <a:rPr lang="en-US" altLang="en-US" sz="120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moderate adjustment</a:t>
            </a:r>
            <a:endParaRPr lang="en-US" altLang="en-US" sz="1200" b="1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Title 3">
            <a:extLst>
              <a:ext uri="{FF2B5EF4-FFF2-40B4-BE49-F238E27FC236}">
                <a16:creationId xmlns:a16="http://schemas.microsoft.com/office/drawing/2014/main" id="{6DB0D8C9-E83E-8429-54A9-27E1BFF06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863" y="292949"/>
            <a:ext cx="5219198" cy="380219"/>
          </a:xfrm>
        </p:spPr>
        <p:txBody>
          <a:bodyPr/>
          <a:lstStyle/>
          <a:p>
            <a:pPr algn="ctr"/>
            <a:r>
              <a:rPr lang="en-US" sz="1400">
                <a:ea typeface="+mj-lt"/>
                <a:cs typeface="+mj-lt"/>
              </a:rPr>
              <a:t>Set Allowed Levels by Family: What Actually Occurs</a:t>
            </a:r>
            <a:endParaRPr lang="en-US" sz="1400"/>
          </a:p>
        </p:txBody>
      </p:sp>
      <p:sp>
        <p:nvSpPr>
          <p:cNvPr id="42" name="Title 3">
            <a:extLst>
              <a:ext uri="{FF2B5EF4-FFF2-40B4-BE49-F238E27FC236}">
                <a16:creationId xmlns:a16="http://schemas.microsoft.com/office/drawing/2014/main" id="{BD8B99D1-7952-804A-CCB2-5AAAD31C0A51}"/>
              </a:ext>
            </a:extLst>
          </p:cNvPr>
          <p:cNvSpPr txBox="1">
            <a:spLocks/>
          </p:cNvSpPr>
          <p:nvPr/>
        </p:nvSpPr>
        <p:spPr>
          <a:xfrm>
            <a:off x="745830" y="323219"/>
            <a:ext cx="4999500" cy="464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>
                <a:ea typeface="+mj-lt"/>
                <a:cs typeface="+mj-lt"/>
              </a:rPr>
              <a:t>Baseline LOS Mix: What’s Typical vs. Ra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B4B6DFA-CD41-1292-DA6F-781798D97802}"/>
              </a:ext>
            </a:extLst>
          </p:cNvPr>
          <p:cNvGrpSpPr/>
          <p:nvPr/>
        </p:nvGrpSpPr>
        <p:grpSpPr>
          <a:xfrm>
            <a:off x="437197" y="4680711"/>
            <a:ext cx="4784112" cy="1254799"/>
            <a:chOff x="90775" y="5061527"/>
            <a:chExt cx="4784112" cy="125479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1E1C076-C4FF-471A-495D-5472B20FEB38}"/>
                </a:ext>
              </a:extLst>
            </p:cNvPr>
            <p:cNvGrpSpPr/>
            <p:nvPr/>
          </p:nvGrpSpPr>
          <p:grpSpPr>
            <a:xfrm>
              <a:off x="90775" y="5061527"/>
              <a:ext cx="4784112" cy="1254799"/>
              <a:chOff x="5997206" y="2834235"/>
              <a:chExt cx="5957685" cy="1916286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3F030E73-9AEF-7A4E-D18D-8B144CF838B5}"/>
                  </a:ext>
                </a:extLst>
              </p:cNvPr>
              <p:cNvSpPr/>
              <p:nvPr/>
            </p:nvSpPr>
            <p:spPr>
              <a:xfrm>
                <a:off x="5997206" y="2834236"/>
                <a:ext cx="176650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1FC90E0A-5E47-FB7F-BFA2-B588425F0A18}"/>
                  </a:ext>
                </a:extLst>
              </p:cNvPr>
              <p:cNvSpPr/>
              <p:nvPr/>
            </p:nvSpPr>
            <p:spPr>
              <a:xfrm>
                <a:off x="8093024" y="2837420"/>
                <a:ext cx="1794049" cy="1725078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" name="Graphic 12" descr="Bar graph with upward trend with solid fill">
                <a:extLst>
                  <a:ext uri="{FF2B5EF4-FFF2-40B4-BE49-F238E27FC236}">
                    <a16:creationId xmlns:a16="http://schemas.microsoft.com/office/drawing/2014/main" id="{E811548E-3593-2E53-9B97-B42589CEB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581612" y="3537683"/>
                <a:ext cx="618387" cy="600026"/>
              </a:xfrm>
              <a:prstGeom prst="rect">
                <a:avLst/>
              </a:prstGeom>
            </p:spPr>
          </p:pic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50517136-68E4-8C35-580D-E4FE5AC09E48}"/>
                  </a:ext>
                </a:extLst>
              </p:cNvPr>
              <p:cNvSpPr/>
              <p:nvPr/>
            </p:nvSpPr>
            <p:spPr>
              <a:xfrm>
                <a:off x="10165433" y="2834235"/>
                <a:ext cx="178486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8FFB866-A410-3F8E-C519-3D8F8879A9ED}"/>
                  </a:ext>
                </a:extLst>
              </p:cNvPr>
              <p:cNvSpPr txBox="1"/>
              <p:nvPr/>
            </p:nvSpPr>
            <p:spPr>
              <a:xfrm>
                <a:off x="5997206" y="3002030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900" b="1"/>
                  <a:t>LOS 2-3</a:t>
                </a:r>
                <a:br>
                  <a:rPr lang="en-US" sz="900" b="1"/>
                </a:br>
                <a:r>
                  <a:rPr lang="en-US" sz="1050" b="1"/>
                  <a:t>80%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4E77A2D-9C2F-3EDE-56A9-5778D0BA47BB}"/>
                  </a:ext>
                </a:extLst>
              </p:cNvPr>
              <p:cNvSpPr txBox="1"/>
              <p:nvPr/>
            </p:nvSpPr>
            <p:spPr>
              <a:xfrm>
                <a:off x="6000077" y="4109442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/>
                  <a:t>Lower allowed</a:t>
                </a:r>
              </a:p>
              <a:p>
                <a:pPr algn="ctr"/>
                <a:r>
                  <a:rPr lang="en-US" sz="800" b="1"/>
                  <a:t>LOS</a:t>
                </a:r>
              </a:p>
            </p:txBody>
          </p:sp>
          <p:pic>
            <p:nvPicPr>
              <p:cNvPr id="21" name="Picture 20" descr="A purple line drawing of a piece of paper and a pen&#10;&#10;AI-generated content may be incorrect.">
                <a:extLst>
                  <a:ext uri="{FF2B5EF4-FFF2-40B4-BE49-F238E27FC236}">
                    <a16:creationId xmlns:a16="http://schemas.microsoft.com/office/drawing/2014/main" id="{9DF35B82-7C9A-A72A-27F4-601F230FAE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44530" y="3574686"/>
                <a:ext cx="519801" cy="556524"/>
              </a:xfrm>
              <a:prstGeom prst="rect">
                <a:avLst/>
              </a:prstGeom>
            </p:spPr>
          </p:pic>
          <p:pic>
            <p:nvPicPr>
              <p:cNvPr id="27" name="Graphic 26" descr="Close with solid fill">
                <a:extLst>
                  <a:ext uri="{FF2B5EF4-FFF2-40B4-BE49-F238E27FC236}">
                    <a16:creationId xmlns:a16="http://schemas.microsoft.com/office/drawing/2014/main" id="{5D229422-D872-0AC4-BC5D-D884BBE3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30230" y="3599907"/>
                <a:ext cx="455270" cy="509533"/>
              </a:xfrm>
              <a:prstGeom prst="rect">
                <a:avLst/>
              </a:prstGeom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44B86CF-D99F-1491-6AFB-7F5A99285E03}"/>
                  </a:ext>
                </a:extLst>
              </p:cNvPr>
              <p:cNvSpPr txBox="1"/>
              <p:nvPr/>
            </p:nvSpPr>
            <p:spPr>
              <a:xfrm>
                <a:off x="10160842" y="4042251"/>
                <a:ext cx="1794049" cy="6410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/>
                  <a:t>Obsolete</a:t>
                </a:r>
              </a:p>
              <a:p>
                <a:pPr algn="ctr"/>
                <a:r>
                  <a:rPr lang="en-US" sz="800" b="1"/>
                  <a:t> Zone</a:t>
                </a:r>
                <a:br>
                  <a:rPr lang="en-US" sz="800" b="1"/>
                </a:br>
                <a:endParaRPr lang="en-US" sz="800" b="1"/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000B369-12F8-B9ED-DFE6-477B5DDA59C3}"/>
                </a:ext>
              </a:extLst>
            </p:cNvPr>
            <p:cNvSpPr txBox="1"/>
            <p:nvPr/>
          </p:nvSpPr>
          <p:spPr>
            <a:xfrm>
              <a:off x="1766378" y="5162907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/>
                <a:t>LOS 4-5</a:t>
              </a:r>
              <a:br>
                <a:rPr lang="en-US" sz="900" b="1"/>
              </a:br>
              <a:r>
                <a:rPr lang="en-US" sz="1050" b="1"/>
                <a:t>20%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C79182D-21B5-107A-B7BB-9F6C55648D58}"/>
                </a:ext>
              </a:extLst>
            </p:cNvPr>
            <p:cNvSpPr txBox="1"/>
            <p:nvPr/>
          </p:nvSpPr>
          <p:spPr>
            <a:xfrm>
              <a:off x="1751325" y="5896541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800" b="1"/>
                <a:t>Higher allowed</a:t>
              </a:r>
            </a:p>
            <a:p>
              <a:pPr algn="ctr"/>
              <a:r>
                <a:rPr lang="en-US" sz="800" b="1"/>
                <a:t>LO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960EE12-EA5F-BB47-E1B1-5C7FC3934CC8}"/>
                </a:ext>
              </a:extLst>
            </p:cNvPr>
            <p:cNvSpPr txBox="1"/>
            <p:nvPr/>
          </p:nvSpPr>
          <p:spPr>
            <a:xfrm>
              <a:off x="3422891" y="5157029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/>
                <a:t>LOS 4-5</a:t>
              </a:r>
              <a:br>
                <a:rPr lang="en-US" sz="900" b="1"/>
              </a:br>
              <a:r>
                <a:rPr lang="en-US" sz="1050" b="1"/>
                <a:t>0%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A2005915-9AA7-4716-82F7-9D8BE548DEBA}"/>
              </a:ext>
            </a:extLst>
          </p:cNvPr>
          <p:cNvSpPr/>
          <p:nvPr/>
        </p:nvSpPr>
        <p:spPr>
          <a:xfrm>
            <a:off x="437197" y="788027"/>
            <a:ext cx="4780426" cy="3545848"/>
          </a:xfrm>
          <a:prstGeom prst="rect">
            <a:avLst/>
          </a:prstGeom>
          <a:noFill/>
          <a:ln>
            <a:solidFill>
              <a:schemeClr val="bg1">
                <a:lumMod val="85000"/>
                <a:alpha val="7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535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B8C4F-B1DD-D13C-FD27-C28220CCD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0F68FA-B177-EAA9-D6F5-F7B172A08881}"/>
              </a:ext>
            </a:extLst>
          </p:cNvPr>
          <p:cNvSpPr/>
          <p:nvPr/>
        </p:nvSpPr>
        <p:spPr>
          <a:xfrm>
            <a:off x="3676650" y="3924299"/>
            <a:ext cx="8522856" cy="1985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9CB5FA-5052-75B0-B9B2-65410CE542A9}"/>
              </a:ext>
            </a:extLst>
          </p:cNvPr>
          <p:cNvSpPr/>
          <p:nvPr/>
        </p:nvSpPr>
        <p:spPr>
          <a:xfrm>
            <a:off x="0" y="763932"/>
            <a:ext cx="12192000" cy="253171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BE5710-46CA-A18F-7B1F-61750AD6E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6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1818F5-397E-4AE6-BAC1-54162DB0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818" y="270584"/>
            <a:ext cx="5615673" cy="508000"/>
          </a:xfrm>
        </p:spPr>
        <p:txBody>
          <a:bodyPr/>
          <a:lstStyle/>
          <a:p>
            <a:r>
              <a:rPr lang="en-US" sz="2400"/>
              <a:t>Data Overview &amp; Workflow</a:t>
            </a:r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3EE6384A-18AF-B4AD-0392-5E15B4B128F6}"/>
              </a:ext>
            </a:extLst>
          </p:cNvPr>
          <p:cNvSpPr txBox="1">
            <a:spLocks/>
          </p:cNvSpPr>
          <p:nvPr/>
        </p:nvSpPr>
        <p:spPr>
          <a:xfrm>
            <a:off x="8700014" y="948421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6A89B1-1F1B-973E-56A9-0B1DDC4D06B5}"/>
              </a:ext>
            </a:extLst>
          </p:cNvPr>
          <p:cNvSpPr txBox="1"/>
          <p:nvPr/>
        </p:nvSpPr>
        <p:spPr>
          <a:xfrm>
            <a:off x="235613" y="4117914"/>
            <a:ext cx="3478119" cy="15928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Source: RMI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Date: 08/25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Size: 184k rows &amp; 27 columns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/>
              <a:t>LOS Range: 2-5</a:t>
            </a:r>
          </a:p>
          <a:p>
            <a:pPr algn="l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83466F-3A10-F1C8-2457-801B7CECCA6D}"/>
              </a:ext>
            </a:extLst>
          </p:cNvPr>
          <p:cNvSpPr txBox="1"/>
          <p:nvPr/>
        </p:nvSpPr>
        <p:spPr>
          <a:xfrm>
            <a:off x="594514" y="2300065"/>
            <a:ext cx="1943178" cy="637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/>
              <a:t>Existing E&amp;M LOS Data from RM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87BBB0-7FB1-8C4E-EE83-3F2D899E1EC5}"/>
              </a:ext>
            </a:extLst>
          </p:cNvPr>
          <p:cNvSpPr txBox="1"/>
          <p:nvPr/>
        </p:nvSpPr>
        <p:spPr>
          <a:xfrm>
            <a:off x="3288163" y="2238917"/>
            <a:ext cx="2162175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/>
              <a:t>Data transformation:  </a:t>
            </a:r>
            <a:r>
              <a:rPr lang="en-US" sz="1400"/>
              <a:t>standardize raw inputs into an analysis-ready forma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3A273E-FC66-93BE-EE6B-F6806C2F80C9}"/>
              </a:ext>
            </a:extLst>
          </p:cNvPr>
          <p:cNvSpPr txBox="1"/>
          <p:nvPr/>
        </p:nvSpPr>
        <p:spPr>
          <a:xfrm>
            <a:off x="6288541" y="2238917"/>
            <a:ext cx="210573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/>
              <a:t>Explore current LOS data to understand LOS by Procedure and IC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6F712BF-C799-C570-17D2-3577E1EF6D84}"/>
              </a:ext>
            </a:extLst>
          </p:cNvPr>
          <p:cNvSpPr txBox="1"/>
          <p:nvPr/>
        </p:nvSpPr>
        <p:spPr>
          <a:xfrm>
            <a:off x="9398512" y="2269490"/>
            <a:ext cx="203000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/>
              <a:t>Analyze Claims data such as billed LOS, adjustments, etc.  to standardize the LOS 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67E1C28E-F6DA-CB9E-8654-A2F38BB00914}"/>
              </a:ext>
            </a:extLst>
          </p:cNvPr>
          <p:cNvSpPr/>
          <p:nvPr/>
        </p:nvSpPr>
        <p:spPr>
          <a:xfrm>
            <a:off x="2612887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2AC6C558-68CB-9277-4FD0-44A96B609A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06" y="1047560"/>
            <a:ext cx="954867" cy="954867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2C62901-8D5D-C6DA-A52B-5C89216CBD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443" y="1049744"/>
            <a:ext cx="954867" cy="954867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31E9181C-6A18-7408-98C8-2B37829D93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866" y="1039461"/>
            <a:ext cx="954867" cy="954867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0DC8DF0B-A5A5-6F8A-13FD-57E1B916C6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081" y="1061677"/>
            <a:ext cx="954867" cy="954867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8822E131-CF05-A5D3-B7C9-4EF6EB9CBEE0}"/>
              </a:ext>
            </a:extLst>
          </p:cNvPr>
          <p:cNvSpPr/>
          <p:nvPr/>
        </p:nvSpPr>
        <p:spPr>
          <a:xfrm>
            <a:off x="5515684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1ECB1142-E9DE-433D-035F-E75AE01790CD}"/>
              </a:ext>
            </a:extLst>
          </p:cNvPr>
          <p:cNvSpPr/>
          <p:nvPr/>
        </p:nvSpPr>
        <p:spPr>
          <a:xfrm>
            <a:off x="8601503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D72E623-8A63-3EB4-77E7-A2F433D9B6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2038" y="4044439"/>
            <a:ext cx="8397468" cy="173975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58220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B35DDF-F019-B1E2-0F16-2B954F1C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4FB0DB-38C8-FD92-0FF6-F468CD6EBCFB}"/>
              </a:ext>
            </a:extLst>
          </p:cNvPr>
          <p:cNvSpPr/>
          <p:nvPr/>
        </p:nvSpPr>
        <p:spPr>
          <a:xfrm>
            <a:off x="720628" y="612435"/>
            <a:ext cx="4972806" cy="566503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047BE5-DFF0-5FC3-AE53-7F9F90389671}"/>
              </a:ext>
            </a:extLst>
          </p:cNvPr>
          <p:cNvSpPr/>
          <p:nvPr/>
        </p:nvSpPr>
        <p:spPr>
          <a:xfrm>
            <a:off x="720628" y="1368720"/>
            <a:ext cx="4972806" cy="2746075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C4A69C-FC7F-D6A5-2C11-F8E75C1134C3}"/>
              </a:ext>
            </a:extLst>
          </p:cNvPr>
          <p:cNvSpPr/>
          <p:nvPr/>
        </p:nvSpPr>
        <p:spPr>
          <a:xfrm>
            <a:off x="6052868" y="612434"/>
            <a:ext cx="4972806" cy="603885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E926CEB7-32B0-10B5-1D4B-D2E5E4B7C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839" y="730345"/>
            <a:ext cx="4632384" cy="388153"/>
          </a:xfrm>
        </p:spPr>
        <p:txBody>
          <a:bodyPr/>
          <a:lstStyle/>
          <a:p>
            <a:pPr algn="ctr"/>
            <a:r>
              <a:rPr lang="en-US" sz="2400"/>
              <a:t>Internship Goals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511F9A34-6E4F-5745-BD1E-5E2DF8C3DD34}"/>
              </a:ext>
            </a:extLst>
          </p:cNvPr>
          <p:cNvSpPr txBox="1">
            <a:spLocks/>
          </p:cNvSpPr>
          <p:nvPr/>
        </p:nvSpPr>
        <p:spPr>
          <a:xfrm>
            <a:off x="6223079" y="779328"/>
            <a:ext cx="4632384" cy="388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/>
              <a:t>Learning &amp; Growth</a:t>
            </a:r>
          </a:p>
        </p:txBody>
      </p:sp>
      <p:sp>
        <p:nvSpPr>
          <p:cNvPr id="27" name="Rectangle 1">
            <a:extLst>
              <a:ext uri="{FF2B5EF4-FFF2-40B4-BE49-F238E27FC236}">
                <a16:creationId xmlns:a16="http://schemas.microsoft.com/office/drawing/2014/main" id="{3E790745-A857-E4B4-BBEE-B84441BF2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628" y="1486668"/>
            <a:ext cx="4852036" cy="297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Apply advanced analytics to real healthcare data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Build AI-powered solutions for business insight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/>
              <a:t>Collaborate across clinical, product, and engineering team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/>
              <a:t>Learn to translate business logic into data-driven outcome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/>
              <a:t>Contribute to scalable, production-ready analytics framework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Build confidence in owning end-to-end project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Enhance problem-solving and critical-thinking abiliti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1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8DCE94-0345-6134-DC67-EC0364BCCD43}"/>
              </a:ext>
            </a:extLst>
          </p:cNvPr>
          <p:cNvSpPr/>
          <p:nvPr/>
        </p:nvSpPr>
        <p:spPr>
          <a:xfrm>
            <a:off x="6052868" y="1406102"/>
            <a:ext cx="4972806" cy="2708693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">
            <a:extLst>
              <a:ext uri="{FF2B5EF4-FFF2-40B4-BE49-F238E27FC236}">
                <a16:creationId xmlns:a16="http://schemas.microsoft.com/office/drawing/2014/main" id="{8B2E3E8F-0CC0-3087-8DF2-D2940CD6C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3638" y="1486668"/>
            <a:ext cx="4852036" cy="241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Translating business requirements into technical deliverable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Building AI-driven data products in Microsoft Fabric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Deep understanding of E&amp;M LOS and payer analytic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Value of ownership and accountability in Agile project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Importance of collaboration across hierarchy and function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100"/>
              <a:t>Seeing how analytics drives real healthcare outcomes</a:t>
            </a:r>
          </a:p>
          <a:p>
            <a:pPr marL="171450" lvl="0" indent="-171450"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100"/>
              <a:t>Experienced how innovation thrive, evolving through AI &amp; Data</a:t>
            </a:r>
            <a:endParaRPr lang="en-US" altLang="en-US" sz="11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2936B8B-4B9B-7753-1B81-7FAEBD5D8779}"/>
              </a:ext>
            </a:extLst>
          </p:cNvPr>
          <p:cNvSpPr/>
          <p:nvPr/>
        </p:nvSpPr>
        <p:spPr>
          <a:xfrm>
            <a:off x="720628" y="4304577"/>
            <a:ext cx="10305046" cy="557652"/>
          </a:xfrm>
          <a:prstGeom prst="rect">
            <a:avLst/>
          </a:prstGeom>
          <a:solidFill>
            <a:srgbClr val="E9E3F5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E6E7D8E-82DA-A162-3E18-21A081D2FCE0}"/>
              </a:ext>
            </a:extLst>
          </p:cNvPr>
          <p:cNvSpPr txBox="1">
            <a:spLocks/>
          </p:cNvSpPr>
          <p:nvPr/>
        </p:nvSpPr>
        <p:spPr>
          <a:xfrm>
            <a:off x="720627" y="4413636"/>
            <a:ext cx="10305045" cy="388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/>
              <a:t>Skills ki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F4E3EAF6-A02E-688B-A844-C60D5C65900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0627" y="5052011"/>
            <a:ext cx="10504318" cy="85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1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0D5990-5F13-6738-EBE3-BDADB0FAF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64A9645-1E71-2F07-B468-2406F9B66C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88710"/>
              </p:ext>
            </p:extLst>
          </p:nvPr>
        </p:nvGraphicFramePr>
        <p:xfrm>
          <a:off x="870117" y="1667063"/>
          <a:ext cx="10579099" cy="3162300"/>
        </p:xfrm>
        <a:graphic>
          <a:graphicData uri="http://schemas.openxmlformats.org/drawingml/2006/table">
            <a:tbl>
              <a:tblPr/>
              <a:tblGrid>
                <a:gridCol w="2656678">
                  <a:extLst>
                    <a:ext uri="{9D8B030D-6E8A-4147-A177-3AD203B41FA5}">
                      <a16:colId xmlns:a16="http://schemas.microsoft.com/office/drawing/2014/main" val="1271851675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2084153067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57961254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2565631267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1726389621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3159653748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3159658557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978962680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1921218825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4245827050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3552171569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1925070370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2006136621"/>
                    </a:ext>
                  </a:extLst>
                </a:gridCol>
                <a:gridCol w="609417">
                  <a:extLst>
                    <a:ext uri="{9D8B030D-6E8A-4147-A177-3AD203B41FA5}">
                      <a16:colId xmlns:a16="http://schemas.microsoft.com/office/drawing/2014/main" val="638912989"/>
                    </a:ext>
                  </a:extLst>
                </a:gridCol>
              </a:tblGrid>
              <a:tr h="4381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05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s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1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g 11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2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g 18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3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g 25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4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1s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5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8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6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15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7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22n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8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29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9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6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10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13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11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12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 27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ek 13</a:t>
                      </a:r>
                      <a:b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v 3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96576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ientation &amp; Team Integr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3345636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Scop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711226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 Transformation/ Cleanin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30006F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30006F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8354198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ve Analysis &amp; E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19555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ims Data Prepar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717320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idation &amp; Summariz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27622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ining AI Data Agent &amp; AI Instructio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9623761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ck-End Data Definition &amp; Framewo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EC008C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308580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fining Metric Logic &amp; Query Valid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652310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sting &amp; Document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31006F"/>
                          </a:highlight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31006F"/>
                          </a:highlight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04796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ther Tasks: Web scrapping/DP Benchma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04400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3AA501D-57B0-2E62-DF36-333F5D0C57D1}"/>
              </a:ext>
            </a:extLst>
          </p:cNvPr>
          <p:cNvSpPr/>
          <p:nvPr/>
        </p:nvSpPr>
        <p:spPr>
          <a:xfrm>
            <a:off x="795071" y="1648013"/>
            <a:ext cx="10654145" cy="3228975"/>
          </a:xfrm>
          <a:prstGeom prst="rect">
            <a:avLst/>
          </a:prstGeom>
          <a:noFill/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624F48E-BF9B-7ED4-4776-1356586B1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070" y="1095563"/>
            <a:ext cx="10654145" cy="367899"/>
          </a:xfrm>
          <a:solidFill>
            <a:srgbClr val="E9E3F5"/>
          </a:solidFill>
        </p:spPr>
        <p:txBody>
          <a:bodyPr/>
          <a:lstStyle/>
          <a:p>
            <a:pPr algn="ctr"/>
            <a:r>
              <a:rPr lang="en-US" sz="2400"/>
              <a:t>Internship Progress Timelin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464FA5D-FF7D-4DB4-92A2-778B1B07D0E1}"/>
              </a:ext>
            </a:extLst>
          </p:cNvPr>
          <p:cNvSpPr/>
          <p:nvPr/>
        </p:nvSpPr>
        <p:spPr>
          <a:xfrm>
            <a:off x="2471470" y="5063053"/>
            <a:ext cx="584200" cy="2286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31006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56C020-2AB2-D37C-5584-897BBA0C67A3}"/>
              </a:ext>
            </a:extLst>
          </p:cNvPr>
          <p:cNvSpPr txBox="1"/>
          <p:nvPr/>
        </p:nvSpPr>
        <p:spPr>
          <a:xfrm>
            <a:off x="2905282" y="5063053"/>
            <a:ext cx="210618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E&amp;M LOS Recalibra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5E8D1C4-BF91-A49D-CDCB-72C53371D588}"/>
              </a:ext>
            </a:extLst>
          </p:cNvPr>
          <p:cNvSpPr/>
          <p:nvPr/>
        </p:nvSpPr>
        <p:spPr>
          <a:xfrm>
            <a:off x="5011469" y="5079558"/>
            <a:ext cx="584200" cy="228600"/>
          </a:xfrm>
          <a:prstGeom prst="roundRect">
            <a:avLst/>
          </a:prstGeom>
          <a:solidFill>
            <a:srgbClr val="EC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C008C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C41E7C-E218-D0FA-07AB-1552A57585C7}"/>
              </a:ext>
            </a:extLst>
          </p:cNvPr>
          <p:cNvSpPr txBox="1"/>
          <p:nvPr/>
        </p:nvSpPr>
        <p:spPr>
          <a:xfrm>
            <a:off x="5557569" y="5063053"/>
            <a:ext cx="251258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Ask Data POC – AI Data Agen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DE4CC46-553C-FB63-0CE2-63CBB0518270}"/>
              </a:ext>
            </a:extLst>
          </p:cNvPr>
          <p:cNvSpPr/>
          <p:nvPr/>
        </p:nvSpPr>
        <p:spPr>
          <a:xfrm>
            <a:off x="8109973" y="5063053"/>
            <a:ext cx="584200" cy="228600"/>
          </a:xfrm>
          <a:prstGeom prst="roundRect">
            <a:avLst/>
          </a:prstGeom>
          <a:solidFill>
            <a:srgbClr val="DBD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C008C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B86241-BF5E-9637-4D97-BDA7D3968154}"/>
              </a:ext>
            </a:extLst>
          </p:cNvPr>
          <p:cNvSpPr txBox="1"/>
          <p:nvPr/>
        </p:nvSpPr>
        <p:spPr>
          <a:xfrm>
            <a:off x="8694173" y="5063053"/>
            <a:ext cx="251258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/>
              <a:t>Other Tasks</a:t>
            </a:r>
          </a:p>
        </p:txBody>
      </p:sp>
    </p:spTree>
    <p:extLst>
      <p:ext uri="{BB962C8B-B14F-4D97-AF65-F5344CB8AC3E}">
        <p14:creationId xmlns:p14="http://schemas.microsoft.com/office/powerpoint/2010/main" val="986244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A84EC6-1AAD-BF45-A67F-95E2DF0ED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F1F1CE-28F1-E62D-C00A-A539FD8A29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accent3"/>
                </a:solidFill>
                <a:latin typeface="Montserrat"/>
              </a:rPr>
              <a:t>AI Data Agent – PPM Benchmark Library</a:t>
            </a:r>
            <a:endParaRPr lang="en-US">
              <a:solidFill>
                <a:schemeClr val="accent3"/>
              </a:solidFill>
              <a:latin typeface="Montserrat" panose="00000500000000000000" pitchFamily="2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6F56AA-1077-21CB-9B16-C084C3A01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Montserrat SemiBold"/>
              </a:rPr>
              <a:t>Ask Data POC</a:t>
            </a:r>
            <a:endParaRPr lang="en-US" b="1">
              <a:latin typeface="Montserrat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291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12158-D244-A1C5-DCEF-8B042529D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93" y="359654"/>
            <a:ext cx="11274552" cy="780769"/>
          </a:xfrm>
        </p:spPr>
        <p:txBody>
          <a:bodyPr/>
          <a:lstStyle/>
          <a:p>
            <a:r>
              <a:rPr lang="en-US"/>
              <a:t>Ask POC: PPM Benchmark Data Copilot Executive 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8E1EC5-C740-833E-1D9B-9CD5AD507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81B0F0E-D0A1-F5A7-2291-CE3C92C82C81}"/>
              </a:ext>
            </a:extLst>
          </p:cNvPr>
          <p:cNvSpPr/>
          <p:nvPr/>
        </p:nvSpPr>
        <p:spPr>
          <a:xfrm>
            <a:off x="6901261" y="4209084"/>
            <a:ext cx="4954372" cy="199502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5184BDF-C352-B680-EF38-F9F623C3E27E}"/>
              </a:ext>
            </a:extLst>
          </p:cNvPr>
          <p:cNvSpPr/>
          <p:nvPr/>
        </p:nvSpPr>
        <p:spPr>
          <a:xfrm>
            <a:off x="6901261" y="2033106"/>
            <a:ext cx="4954372" cy="19950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D6A87E4-0CD7-FE69-24B9-1ECEBAB43BA2}"/>
              </a:ext>
            </a:extLst>
          </p:cNvPr>
          <p:cNvSpPr/>
          <p:nvPr/>
        </p:nvSpPr>
        <p:spPr>
          <a:xfrm>
            <a:off x="6194887" y="4271568"/>
            <a:ext cx="1809576" cy="1834953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02132B-9A71-C8DC-4CD1-BD8279412532}"/>
              </a:ext>
            </a:extLst>
          </p:cNvPr>
          <p:cNvSpPr/>
          <p:nvPr/>
        </p:nvSpPr>
        <p:spPr>
          <a:xfrm>
            <a:off x="6194887" y="2095590"/>
            <a:ext cx="1809576" cy="183495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C75921-0DDC-18D3-9CC6-B37E19F71965}"/>
              </a:ext>
            </a:extLst>
          </p:cNvPr>
          <p:cNvSpPr txBox="1"/>
          <p:nvPr/>
        </p:nvSpPr>
        <p:spPr>
          <a:xfrm>
            <a:off x="8152755" y="4331714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/>
              <a:t>MISSION</a:t>
            </a:r>
            <a:r>
              <a:rPr lang="en-US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EF0240-CC9A-410B-61FD-F6F40475A372}"/>
              </a:ext>
            </a:extLst>
          </p:cNvPr>
          <p:cNvSpPr txBox="1"/>
          <p:nvPr/>
        </p:nvSpPr>
        <p:spPr>
          <a:xfrm>
            <a:off x="8123810" y="2103798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/>
              <a:t>SOLUTION</a:t>
            </a:r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0C34F4-D94A-3D73-25AE-7A0758030F8D}"/>
              </a:ext>
            </a:extLst>
          </p:cNvPr>
          <p:cNvSpPr txBox="1"/>
          <p:nvPr/>
        </p:nvSpPr>
        <p:spPr>
          <a:xfrm>
            <a:off x="8123810" y="2455168"/>
            <a:ext cx="3577590" cy="15575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The </a:t>
            </a:r>
            <a:r>
              <a:rPr lang="en-US" sz="1000" b="1"/>
              <a:t>PPM Benchmark Data Copilot</a:t>
            </a:r>
            <a:r>
              <a:rPr lang="en-US" sz="1000"/>
              <a:t> leverages </a:t>
            </a:r>
            <a:r>
              <a:rPr lang="en-US" sz="1000" b="1"/>
              <a:t>Microsoft Fabric</a:t>
            </a:r>
            <a:r>
              <a:rPr lang="en-US" sz="1000"/>
              <a:t> and </a:t>
            </a:r>
            <a:r>
              <a:rPr lang="en-US" sz="1000" b="1"/>
              <a:t>AI-driven natural language processing</a:t>
            </a:r>
            <a:r>
              <a:rPr lang="en-US" sz="1000"/>
              <a:t> to instantly convert plain English questions into optimized SQL queries and real-time answ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Users can access benchmark metrics (e.g., GPV%, NPV%, Adoption Rates) across multiple hierarchies, customer, payer, policy, and rule, </a:t>
            </a:r>
            <a:r>
              <a:rPr lang="en-US" sz="1000" b="1"/>
              <a:t>in seconds</a:t>
            </a:r>
            <a:r>
              <a:rPr lang="en-US" sz="1000"/>
              <a:t> and </a:t>
            </a:r>
            <a:r>
              <a:rPr lang="en-US" sz="1000" b="1"/>
              <a:t>without writing SQL</a:t>
            </a:r>
            <a:r>
              <a:rPr lang="en-US" sz="1000"/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8667D1-4F2D-A0D0-9931-DD0004009151}"/>
              </a:ext>
            </a:extLst>
          </p:cNvPr>
          <p:cNvSpPr txBox="1"/>
          <p:nvPr/>
        </p:nvSpPr>
        <p:spPr>
          <a:xfrm>
            <a:off x="8123810" y="4646631"/>
            <a:ext cx="3747135" cy="1235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To democratize data access by allowing every clinical and business leader to </a:t>
            </a:r>
            <a:r>
              <a:rPr lang="en-US" sz="1000" b="1"/>
              <a:t>ask questions naturally and receive governed, audit-ready insights instantly</a:t>
            </a:r>
            <a:r>
              <a:rPr lang="en-US" sz="100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Our mission is to create an </a:t>
            </a:r>
            <a:r>
              <a:rPr lang="en-US" sz="1000" b="1"/>
              <a:t>AI-powered decision companion</a:t>
            </a:r>
            <a:r>
              <a:rPr lang="en-US" sz="1000"/>
              <a:t> that bridges the gap between natural language and enterprise analytics, enabling faster, smarter, and transparent healthcare integrity decisions.</a:t>
            </a:r>
          </a:p>
        </p:txBody>
      </p:sp>
      <p:pic>
        <p:nvPicPr>
          <p:cNvPr id="22" name="Graphic 21" descr="Tools with solid fill">
            <a:extLst>
              <a:ext uri="{FF2B5EF4-FFF2-40B4-BE49-F238E27FC236}">
                <a16:creationId xmlns:a16="http://schemas.microsoft.com/office/drawing/2014/main" id="{BFFF35F6-4819-F2D2-BAD8-AC3B00FE1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39815" y="2573417"/>
            <a:ext cx="914400" cy="914400"/>
          </a:xfrm>
          <a:prstGeom prst="rect">
            <a:avLst/>
          </a:prstGeom>
        </p:spPr>
      </p:pic>
      <p:pic>
        <p:nvPicPr>
          <p:cNvPr id="28" name="Graphic 27" descr="Diamond with solid fill">
            <a:extLst>
              <a:ext uri="{FF2B5EF4-FFF2-40B4-BE49-F238E27FC236}">
                <a16:creationId xmlns:a16="http://schemas.microsoft.com/office/drawing/2014/main" id="{A0C5282C-890E-AA70-96CB-72C6F9D465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815" y="4783714"/>
            <a:ext cx="914400" cy="9144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F621425-6E32-8610-32E3-E75205E6E909}"/>
              </a:ext>
            </a:extLst>
          </p:cNvPr>
          <p:cNvSpPr txBox="1"/>
          <p:nvPr/>
        </p:nvSpPr>
        <p:spPr>
          <a:xfrm>
            <a:off x="490600" y="826061"/>
            <a:ext cx="1110500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sz="1600">
                <a:solidFill>
                  <a:srgbClr val="30006F"/>
                </a:solidFill>
                <a:latin typeface="+mj-lt"/>
              </a:rPr>
              <a:t>With the integration </a:t>
            </a:r>
            <a:r>
              <a:rPr lang="en-US" sz="1600">
                <a:solidFill>
                  <a:schemeClr val="accent1"/>
                </a:solidFill>
                <a:latin typeface="+mj-lt"/>
              </a:rPr>
              <a:t>of </a:t>
            </a:r>
            <a:r>
              <a:rPr lang="en-US" sz="1600">
                <a:solidFill>
                  <a:schemeClr val="accent3"/>
                </a:solidFill>
                <a:latin typeface="+mj-lt"/>
              </a:rPr>
              <a:t>Microsoft Fabric and generative AI,</a:t>
            </a:r>
            <a:r>
              <a:rPr lang="en-US" sz="1600">
                <a:solidFill>
                  <a:srgbClr val="30006F"/>
                </a:solidFill>
                <a:latin typeface="+mj-lt"/>
              </a:rPr>
              <a:t> Cotiviti’s PPM Benchmark Library empowers clinical and business users to instantly translate healthcare data questions into SQL-driven insights, eliminating analyst dependency for repetitive requests and enabling faster, data-backed decision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4C596E-C037-D090-FEC2-9C49E4CC01CF}"/>
              </a:ext>
            </a:extLst>
          </p:cNvPr>
          <p:cNvSpPr/>
          <p:nvPr/>
        </p:nvSpPr>
        <p:spPr>
          <a:xfrm>
            <a:off x="1062990" y="4193651"/>
            <a:ext cx="4954372" cy="1995023"/>
          </a:xfrm>
          <a:prstGeom prst="roundRect">
            <a:avLst/>
          </a:prstGeom>
          <a:solidFill>
            <a:srgbClr val="FFC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E08F64E-20D7-388D-E702-5FF6040E4C09}"/>
              </a:ext>
            </a:extLst>
          </p:cNvPr>
          <p:cNvSpPr/>
          <p:nvPr/>
        </p:nvSpPr>
        <p:spPr>
          <a:xfrm>
            <a:off x="1062990" y="2017673"/>
            <a:ext cx="4954372" cy="19950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D729EB2-E64D-D10F-34E5-ED8C2DD98EE5}"/>
              </a:ext>
            </a:extLst>
          </p:cNvPr>
          <p:cNvSpPr/>
          <p:nvPr/>
        </p:nvSpPr>
        <p:spPr>
          <a:xfrm>
            <a:off x="356616" y="4256135"/>
            <a:ext cx="1809576" cy="1834953"/>
          </a:xfrm>
          <a:prstGeom prst="ellipse">
            <a:avLst/>
          </a:prstGeom>
          <a:solidFill>
            <a:srgbClr val="FFC8E9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DADA437-5C4F-77D2-6A28-29A4F8E68EB8}"/>
              </a:ext>
            </a:extLst>
          </p:cNvPr>
          <p:cNvSpPr/>
          <p:nvPr/>
        </p:nvSpPr>
        <p:spPr>
          <a:xfrm>
            <a:off x="356616" y="2080157"/>
            <a:ext cx="1809576" cy="1834953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94902E-8BC1-10B3-395D-C163F1CF32FA}"/>
              </a:ext>
            </a:extLst>
          </p:cNvPr>
          <p:cNvSpPr txBox="1"/>
          <p:nvPr/>
        </p:nvSpPr>
        <p:spPr>
          <a:xfrm>
            <a:off x="2314484" y="4316281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/>
              <a:t>MARKET VALUE</a:t>
            </a:r>
            <a:r>
              <a:rPr lang="en-US"/>
              <a:t>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79B239-6A39-FC35-5610-9B4F67A9874B}"/>
              </a:ext>
            </a:extLst>
          </p:cNvPr>
          <p:cNvSpPr txBox="1"/>
          <p:nvPr/>
        </p:nvSpPr>
        <p:spPr>
          <a:xfrm>
            <a:off x="2285539" y="2088365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/>
              <a:t>PROBLEM</a:t>
            </a:r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4885E58-B558-6B0D-9659-5144058B46D3}"/>
              </a:ext>
            </a:extLst>
          </p:cNvPr>
          <p:cNvSpPr txBox="1"/>
          <p:nvPr/>
        </p:nvSpPr>
        <p:spPr>
          <a:xfrm>
            <a:off x="2285539" y="2439735"/>
            <a:ext cx="3577590" cy="15575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Clinical directors and business </a:t>
            </a:r>
            <a:r>
              <a:rPr lang="en-US" sz="1000" b="1"/>
              <a:t>leaders lack instant access to enterprise data </a:t>
            </a:r>
            <a:r>
              <a:rPr lang="en-US" sz="1000"/>
              <a:t>during discussions or revie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They rely heavily on analysts to extract or validate data, causing delays, reduced agility, and </a:t>
            </a:r>
            <a:r>
              <a:rPr lang="en-US" sz="1000" b="1"/>
              <a:t>missed opportunities for real-time, data-informed decision-making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CE11694-0C18-26EB-3655-DBB037C3294F}"/>
              </a:ext>
            </a:extLst>
          </p:cNvPr>
          <p:cNvSpPr txBox="1"/>
          <p:nvPr/>
        </p:nvSpPr>
        <p:spPr>
          <a:xfrm>
            <a:off x="2285539" y="4631198"/>
            <a:ext cx="3747135" cy="1235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Transforms Cotiviti’s ecosystem into a unified </a:t>
            </a:r>
            <a:r>
              <a:rPr lang="en-US" sz="1000" b="1"/>
              <a:t>self-service analytics</a:t>
            </a:r>
            <a:r>
              <a:rPr lang="en-US" sz="1000"/>
              <a:t> platform empowering clinical, product, and operations teams with </a:t>
            </a:r>
            <a:r>
              <a:rPr lang="en-US" sz="1000" b="1"/>
              <a:t>instant data ac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/>
              <a:t>The solution is designed to </a:t>
            </a:r>
            <a:r>
              <a:rPr lang="en-US" sz="1000" b="1"/>
              <a:t>scale across all Opportunity Intelligence (OI) data products </a:t>
            </a:r>
            <a:r>
              <a:rPr lang="en-US" sz="1000"/>
              <a:t>and multi-source ecosystems, creating a single, intelligent layer for enterprise data insight and decision-making.</a:t>
            </a:r>
          </a:p>
        </p:txBody>
      </p:sp>
      <p:pic>
        <p:nvPicPr>
          <p:cNvPr id="35" name="Graphic 34" descr="Question mark with solid fill">
            <a:extLst>
              <a:ext uri="{FF2B5EF4-FFF2-40B4-BE49-F238E27FC236}">
                <a16:creationId xmlns:a16="http://schemas.microsoft.com/office/drawing/2014/main" id="{AE0F6D04-C3FD-65C1-6C88-337DE87B91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8001" y="2540433"/>
            <a:ext cx="914400" cy="914400"/>
          </a:xfrm>
          <a:prstGeom prst="rect">
            <a:avLst/>
          </a:prstGeom>
        </p:spPr>
      </p:pic>
      <p:pic>
        <p:nvPicPr>
          <p:cNvPr id="36" name="Graphic 35" descr="Bullseye with solid fill">
            <a:extLst>
              <a:ext uri="{FF2B5EF4-FFF2-40B4-BE49-F238E27FC236}">
                <a16:creationId xmlns:a16="http://schemas.microsoft.com/office/drawing/2014/main" id="{9F64C347-D3A5-BFD8-4BBB-E7F832AC33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1429" y="47003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800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356C5C-3861-514F-8F6B-67B041AAB4FA}"/>
              </a:ext>
            </a:extLst>
          </p:cNvPr>
          <p:cNvSpPr/>
          <p:nvPr/>
        </p:nvSpPr>
        <p:spPr>
          <a:xfrm>
            <a:off x="0" y="568863"/>
            <a:ext cx="12192000" cy="1165925"/>
          </a:xfrm>
          <a:prstGeom prst="rect">
            <a:avLst/>
          </a:prstGeom>
          <a:solidFill>
            <a:srgbClr val="C2BFE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48FBE-68A6-C4F1-6FE5-4BB149A78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51426"/>
            <a:ext cx="12191999" cy="413576"/>
          </a:xfrm>
        </p:spPr>
        <p:txBody>
          <a:bodyPr/>
          <a:lstStyle/>
          <a:p>
            <a:pPr algn="ctr"/>
            <a:r>
              <a:rPr lang="en-US"/>
              <a:t>AI Data Agent Input-to-Output Workflo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5F97E0-325E-1CAB-B588-EF95C5607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8</a:t>
            </a:fld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E76CE5D-4325-7BA4-055A-998238F0A1C3}"/>
              </a:ext>
            </a:extLst>
          </p:cNvPr>
          <p:cNvSpPr txBox="1"/>
          <p:nvPr/>
        </p:nvSpPr>
        <p:spPr>
          <a:xfrm>
            <a:off x="0" y="1206811"/>
            <a:ext cx="121919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user gives a plain-language (or SQL-like) request, the Fabric AI Data Agent enriches it with our business rules, looks up the right metric + schema, asks the LLM to write SQL, validates it, runs it on your Fabric Lakehouse (PPM benchmark data), and then returns both data + insight text back to the user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DF7AD9F-5EFC-8FC8-8145-F379914DC7BC}"/>
              </a:ext>
            </a:extLst>
          </p:cNvPr>
          <p:cNvGrpSpPr/>
          <p:nvPr/>
        </p:nvGrpSpPr>
        <p:grpSpPr>
          <a:xfrm>
            <a:off x="372684" y="2032357"/>
            <a:ext cx="11446629" cy="3324286"/>
            <a:chOff x="372684" y="2032357"/>
            <a:chExt cx="11446629" cy="3324286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B182E50-190B-A3C2-1534-1F43640CA2CC}"/>
                </a:ext>
              </a:extLst>
            </p:cNvPr>
            <p:cNvGrpSpPr/>
            <p:nvPr/>
          </p:nvGrpSpPr>
          <p:grpSpPr>
            <a:xfrm>
              <a:off x="915494" y="2032357"/>
              <a:ext cx="10474663" cy="1248935"/>
              <a:chOff x="682367" y="1341892"/>
              <a:chExt cx="10474663" cy="1248935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7B90339F-76CC-3F27-4B5C-E359EC9194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82367" y="1424901"/>
                <a:ext cx="889521" cy="1165926"/>
              </a:xfrm>
              <a:prstGeom prst="rect">
                <a:avLst/>
              </a:prstGeom>
            </p:spPr>
          </p:pic>
          <p:sp>
            <p:nvSpPr>
              <p:cNvPr id="17" name="Arrow: Right 16">
                <a:extLst>
                  <a:ext uri="{FF2B5EF4-FFF2-40B4-BE49-F238E27FC236}">
                    <a16:creationId xmlns:a16="http://schemas.microsoft.com/office/drawing/2014/main" id="{E8959964-3CDD-8903-75A7-39E2775A4734}"/>
                  </a:ext>
                </a:extLst>
              </p:cNvPr>
              <p:cNvSpPr/>
              <p:nvPr/>
            </p:nvSpPr>
            <p:spPr>
              <a:xfrm>
                <a:off x="1865002" y="1891626"/>
                <a:ext cx="314325" cy="209550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9" name="Picture 18" descr="A diagram of a software workflow&#10;&#10;AI-generated content may be incorrect.">
                <a:extLst>
                  <a:ext uri="{FF2B5EF4-FFF2-40B4-BE49-F238E27FC236}">
                    <a16:creationId xmlns:a16="http://schemas.microsoft.com/office/drawing/2014/main" id="{40719515-7D34-9D0B-FD6C-916C8EB236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297" t="40417" r="71388" b="39722"/>
              <a:stretch>
                <a:fillRect/>
              </a:stretch>
            </p:blipFill>
            <p:spPr>
              <a:xfrm>
                <a:off x="2417423" y="1381123"/>
                <a:ext cx="1063070" cy="1143000"/>
              </a:xfrm>
              <a:prstGeom prst="rect">
                <a:avLst/>
              </a:prstGeom>
            </p:spPr>
          </p:pic>
          <p:sp>
            <p:nvSpPr>
              <p:cNvPr id="20" name="Arrow: Right 19">
                <a:extLst>
                  <a:ext uri="{FF2B5EF4-FFF2-40B4-BE49-F238E27FC236}">
                    <a16:creationId xmlns:a16="http://schemas.microsoft.com/office/drawing/2014/main" id="{DC20C2AF-CC1F-9136-9DAC-8C1C63F2971B}"/>
                  </a:ext>
                </a:extLst>
              </p:cNvPr>
              <p:cNvSpPr/>
              <p:nvPr/>
            </p:nvSpPr>
            <p:spPr>
              <a:xfrm>
                <a:off x="3709064" y="1891626"/>
                <a:ext cx="314325" cy="209550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2" name="Picture 21" descr="A diagram of a software workflow&#10;&#10;AI-generated content may be incorrect.">
                <a:extLst>
                  <a:ext uri="{FF2B5EF4-FFF2-40B4-BE49-F238E27FC236}">
                    <a16:creationId xmlns:a16="http://schemas.microsoft.com/office/drawing/2014/main" id="{19EAAC01-CD04-6B9B-17F3-E85D5BBB30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537" t="40972" r="53982" b="41250"/>
              <a:stretch>
                <a:fillRect/>
              </a:stretch>
            </p:blipFill>
            <p:spPr>
              <a:xfrm>
                <a:off x="4246994" y="1370565"/>
                <a:ext cx="967740" cy="1085655"/>
              </a:xfrm>
              <a:prstGeom prst="rect">
                <a:avLst/>
              </a:prstGeom>
            </p:spPr>
          </p:pic>
          <p:sp>
            <p:nvSpPr>
              <p:cNvPr id="23" name="Arrow: Right 22">
                <a:extLst>
                  <a:ext uri="{FF2B5EF4-FFF2-40B4-BE49-F238E27FC236}">
                    <a16:creationId xmlns:a16="http://schemas.microsoft.com/office/drawing/2014/main" id="{43AE7D6F-3141-8B6D-BFF4-DCA628A42586}"/>
                  </a:ext>
                </a:extLst>
              </p:cNvPr>
              <p:cNvSpPr/>
              <p:nvPr/>
            </p:nvSpPr>
            <p:spPr>
              <a:xfrm>
                <a:off x="5447864" y="1885946"/>
                <a:ext cx="314325" cy="209550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100" name="Picture 4" descr="2+ Thousand Llm Icons Royalty-Free Images, Stock Photos &amp; Pictures |  Shutterstock">
                <a:extLst>
                  <a:ext uri="{FF2B5EF4-FFF2-40B4-BE49-F238E27FC236}">
                    <a16:creationId xmlns:a16="http://schemas.microsoft.com/office/drawing/2014/main" id="{7D144B75-6042-6DB0-B146-7CEF9DA345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674" t="11072" r="48542" b="13928"/>
              <a:stretch>
                <a:fillRect/>
              </a:stretch>
            </p:blipFill>
            <p:spPr bwMode="auto">
              <a:xfrm>
                <a:off x="6039746" y="1341892"/>
                <a:ext cx="1240972" cy="1143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Arrow: Right 25">
                <a:extLst>
                  <a:ext uri="{FF2B5EF4-FFF2-40B4-BE49-F238E27FC236}">
                    <a16:creationId xmlns:a16="http://schemas.microsoft.com/office/drawing/2014/main" id="{C88875AA-DFFB-8261-877B-39FF48F9BA20}"/>
                  </a:ext>
                </a:extLst>
              </p:cNvPr>
              <p:cNvSpPr/>
              <p:nvPr/>
            </p:nvSpPr>
            <p:spPr>
              <a:xfrm>
                <a:off x="7558275" y="1885945"/>
                <a:ext cx="314325" cy="209550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8" name="Picture 27" descr="A diagram of a software workflow&#10;&#10;AI-generated content may be incorrect.">
                <a:extLst>
                  <a:ext uri="{FF2B5EF4-FFF2-40B4-BE49-F238E27FC236}">
                    <a16:creationId xmlns:a16="http://schemas.microsoft.com/office/drawing/2014/main" id="{F0425C9D-22F1-DCE4-EA3D-D002C1F780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990" t="41251" r="18947" b="40555"/>
              <a:stretch>
                <a:fillRect/>
              </a:stretch>
            </p:blipFill>
            <p:spPr>
              <a:xfrm>
                <a:off x="8099709" y="1370565"/>
                <a:ext cx="1136770" cy="1143001"/>
              </a:xfrm>
              <a:prstGeom prst="rect">
                <a:avLst/>
              </a:prstGeom>
            </p:spPr>
          </p:pic>
          <p:sp>
            <p:nvSpPr>
              <p:cNvPr id="29" name="Arrow: Right 28">
                <a:extLst>
                  <a:ext uri="{FF2B5EF4-FFF2-40B4-BE49-F238E27FC236}">
                    <a16:creationId xmlns:a16="http://schemas.microsoft.com/office/drawing/2014/main" id="{6AA74AB9-7EDC-EB43-C965-4464516F54FE}"/>
                  </a:ext>
                </a:extLst>
              </p:cNvPr>
              <p:cNvSpPr/>
              <p:nvPr/>
            </p:nvSpPr>
            <p:spPr>
              <a:xfrm>
                <a:off x="9630444" y="1885945"/>
                <a:ext cx="314325" cy="209550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1" name="Picture 30" descr="A diagram of a software workflow&#10;&#10;AI-generated content may be incorrect.">
                <a:extLst>
                  <a:ext uri="{FF2B5EF4-FFF2-40B4-BE49-F238E27FC236}">
                    <a16:creationId xmlns:a16="http://schemas.microsoft.com/office/drawing/2014/main" id="{611DEAF0-E467-28BC-3C65-6FBD7E3720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34" t="42675" r="1716" b="41250"/>
              <a:stretch>
                <a:fillRect/>
              </a:stretch>
            </p:blipFill>
            <p:spPr>
              <a:xfrm>
                <a:off x="10157760" y="1428845"/>
                <a:ext cx="999270" cy="969093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5A74132-252A-7811-00EB-ACA20E7EA5B2}"/>
                </a:ext>
              </a:extLst>
            </p:cNvPr>
            <p:cNvSpPr txBox="1"/>
            <p:nvPr/>
          </p:nvSpPr>
          <p:spPr>
            <a:xfrm>
              <a:off x="482749" y="3146685"/>
              <a:ext cx="1503941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User Inpu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893BF0A-0E0B-7550-E187-C73B9C879926}"/>
                </a:ext>
              </a:extLst>
            </p:cNvPr>
            <p:cNvSpPr txBox="1"/>
            <p:nvPr/>
          </p:nvSpPr>
          <p:spPr>
            <a:xfrm>
              <a:off x="2365089" y="3146685"/>
              <a:ext cx="1631338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Prompt Builder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90E0301-0E22-F0B1-02B6-BCDB2B997B21}"/>
                </a:ext>
              </a:extLst>
            </p:cNvPr>
            <p:cNvSpPr txBox="1"/>
            <p:nvPr/>
          </p:nvSpPr>
          <p:spPr>
            <a:xfrm>
              <a:off x="4273693" y="3146685"/>
              <a:ext cx="158587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Schema Resolv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7AF1C2B-6DEA-CD9D-398A-4C437465F716}"/>
                </a:ext>
              </a:extLst>
            </p:cNvPr>
            <p:cNvSpPr txBox="1"/>
            <p:nvPr/>
          </p:nvSpPr>
          <p:spPr>
            <a:xfrm>
              <a:off x="6203061" y="3175357"/>
              <a:ext cx="158587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AI SQL Generator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26438F9-A58F-F540-30A3-1D35058C0483}"/>
                </a:ext>
              </a:extLst>
            </p:cNvPr>
            <p:cNvSpPr txBox="1"/>
            <p:nvPr/>
          </p:nvSpPr>
          <p:spPr>
            <a:xfrm>
              <a:off x="8250902" y="3175357"/>
              <a:ext cx="158587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Fabric Lakehous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CEF7EE9-FC52-9E9B-F5C3-DA3FEA72CBC9}"/>
                </a:ext>
              </a:extLst>
            </p:cNvPr>
            <p:cNvSpPr txBox="1"/>
            <p:nvPr/>
          </p:nvSpPr>
          <p:spPr>
            <a:xfrm>
              <a:off x="10123374" y="3175357"/>
              <a:ext cx="158587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>
                  <a:solidFill>
                    <a:srgbClr val="31006F"/>
                  </a:solidFill>
                </a:rPr>
                <a:t>Output + Insight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DCB7B08-A514-2243-44FD-39259A697C1B}"/>
                </a:ext>
              </a:extLst>
            </p:cNvPr>
            <p:cNvSpPr/>
            <p:nvPr/>
          </p:nvSpPr>
          <p:spPr>
            <a:xfrm>
              <a:off x="372684" y="3574556"/>
              <a:ext cx="1716833" cy="1782086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BD1754F-B440-9DE2-8611-BF774C6100B7}"/>
                </a:ext>
              </a:extLst>
            </p:cNvPr>
            <p:cNvSpPr/>
            <p:nvPr/>
          </p:nvSpPr>
          <p:spPr>
            <a:xfrm>
              <a:off x="2346661" y="3574557"/>
              <a:ext cx="1716833" cy="1782086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F035A82-CCA5-580C-B5C8-D5905397ABC3}"/>
                </a:ext>
              </a:extLst>
            </p:cNvPr>
            <p:cNvSpPr/>
            <p:nvPr/>
          </p:nvSpPr>
          <p:spPr>
            <a:xfrm>
              <a:off x="4279339" y="3574557"/>
              <a:ext cx="1716833" cy="1782085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2935893-2C1D-4C71-4EEC-F4C01E030325}"/>
                </a:ext>
              </a:extLst>
            </p:cNvPr>
            <p:cNvSpPr/>
            <p:nvPr/>
          </p:nvSpPr>
          <p:spPr>
            <a:xfrm>
              <a:off x="6221723" y="3574559"/>
              <a:ext cx="1716833" cy="1782084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F5A0F13-A510-2FF2-909A-DE075B7029A9}"/>
                </a:ext>
              </a:extLst>
            </p:cNvPr>
            <p:cNvSpPr/>
            <p:nvPr/>
          </p:nvSpPr>
          <p:spPr>
            <a:xfrm>
              <a:off x="8164107" y="3574559"/>
              <a:ext cx="1716833" cy="1782084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5F85842-5710-0C55-2104-2965E1D2D108}"/>
                </a:ext>
              </a:extLst>
            </p:cNvPr>
            <p:cNvSpPr/>
            <p:nvPr/>
          </p:nvSpPr>
          <p:spPr>
            <a:xfrm>
              <a:off x="10102480" y="3574559"/>
              <a:ext cx="1716833" cy="1782083"/>
            </a:xfrm>
            <a:prstGeom prst="rect">
              <a:avLst/>
            </a:prstGeom>
            <a:solidFill>
              <a:srgbClr val="F2F1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0CCD8F5-6C63-6FEE-8A05-4A1F888806FF}"/>
                </a:ext>
              </a:extLst>
            </p:cNvPr>
            <p:cNvSpPr txBox="1"/>
            <p:nvPr/>
          </p:nvSpPr>
          <p:spPr>
            <a:xfrm>
              <a:off x="393333" y="3710869"/>
              <a:ext cx="1675534" cy="1277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Input / User Query</a:t>
              </a:r>
              <a:br>
                <a:rPr lang="en-US" sz="1100">
                  <a:solidFill>
                    <a:srgbClr val="31006F"/>
                  </a:solidFill>
                </a:rPr>
              </a:br>
              <a:r>
                <a:rPr lang="en-US" sz="1100">
                  <a:solidFill>
                    <a:srgbClr val="31006F"/>
                  </a:solidFill>
                </a:rPr>
                <a:t>The user enters a natural-language or SQL-style question that needs a benchmark metric or payer-level result.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8B0C1D6-7F3D-9491-4373-839E62D7811C}"/>
                </a:ext>
              </a:extLst>
            </p:cNvPr>
            <p:cNvSpPr txBox="1"/>
            <p:nvPr/>
          </p:nvSpPr>
          <p:spPr>
            <a:xfrm>
              <a:off x="2387960" y="3675478"/>
              <a:ext cx="1675534" cy="16158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Prompt Builder Setup</a:t>
              </a:r>
              <a:r>
                <a:rPr lang="en-US" sz="1100">
                  <a:solidFill>
                    <a:srgbClr val="31006F"/>
                  </a:solidFill>
                </a:rPr>
                <a:t> </a:t>
              </a:r>
            </a:p>
            <a:p>
              <a:pPr algn="ctr"/>
              <a:r>
                <a:rPr lang="en-US" sz="1100">
                  <a:solidFill>
                    <a:srgbClr val="31006F"/>
                  </a:solidFill>
                </a:rPr>
                <a:t>System and business rules are applied using predefined AI instructions to structure the request.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6632893-34EA-16D7-8B92-B71B267CB0DF}"/>
                </a:ext>
              </a:extLst>
            </p:cNvPr>
            <p:cNvSpPr txBox="1"/>
            <p:nvPr/>
          </p:nvSpPr>
          <p:spPr>
            <a:xfrm>
              <a:off x="8177056" y="3649355"/>
              <a:ext cx="1675534" cy="1277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Execution in Fabric Lakehouse</a:t>
              </a:r>
              <a:r>
                <a:rPr lang="en-US" sz="1100">
                  <a:solidFill>
                    <a:srgbClr val="31006F"/>
                  </a:solidFill>
                </a:rPr>
                <a:t> </a:t>
              </a:r>
            </a:p>
            <a:p>
              <a:pPr algn="ctr"/>
              <a:r>
                <a:rPr lang="en-US" sz="1100">
                  <a:solidFill>
                    <a:srgbClr val="31006F"/>
                  </a:solidFill>
                </a:rPr>
                <a:t>The generated SQL query runs securely on Fabric Warehouse/Lakehouse to retrieve data.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47A2C3B-D872-ABE7-002D-AC951ACFCD50}"/>
                </a:ext>
              </a:extLst>
            </p:cNvPr>
            <p:cNvSpPr txBox="1"/>
            <p:nvPr/>
          </p:nvSpPr>
          <p:spPr>
            <a:xfrm>
              <a:off x="4275290" y="3675478"/>
              <a:ext cx="1675534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Metric &amp; Schema Mapping</a:t>
              </a:r>
              <a:r>
                <a:rPr lang="en-US" sz="1100">
                  <a:solidFill>
                    <a:srgbClr val="31006F"/>
                  </a:solidFill>
                </a:rPr>
                <a:t> </a:t>
              </a:r>
            </a:p>
            <a:p>
              <a:pPr algn="ctr"/>
              <a:r>
                <a:rPr lang="en-US" sz="1100">
                  <a:solidFill>
                    <a:srgbClr val="31006F"/>
                  </a:solidFill>
                </a:rPr>
                <a:t>The agent fetches metric logic from the directory and identifies the correct tables using Fabric metadata.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A2BC9BD-5341-A760-F9B2-81C1ADB94F48}"/>
                </a:ext>
              </a:extLst>
            </p:cNvPr>
            <p:cNvSpPr txBox="1"/>
            <p:nvPr/>
          </p:nvSpPr>
          <p:spPr>
            <a:xfrm>
              <a:off x="6203079" y="3675478"/>
              <a:ext cx="1675534" cy="1277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AI SQL Generation</a:t>
              </a:r>
              <a:r>
                <a:rPr lang="en-US" sz="1100">
                  <a:solidFill>
                    <a:srgbClr val="31006F"/>
                  </a:solidFill>
                </a:rPr>
                <a:t>  The Microsoft Fabric AI model (LLM) converts the processed prompt into a validated SQL query.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A46B265-05C0-5525-52EE-B86A46ADF07A}"/>
                </a:ext>
              </a:extLst>
            </p:cNvPr>
            <p:cNvSpPr txBox="1"/>
            <p:nvPr/>
          </p:nvSpPr>
          <p:spPr>
            <a:xfrm>
              <a:off x="10097207" y="3675478"/>
              <a:ext cx="1675534" cy="1277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>
                  <a:solidFill>
                    <a:srgbClr val="31006F"/>
                  </a:solidFill>
                </a:rPr>
                <a:t>Insights &amp; Output Delivery</a:t>
              </a:r>
              <a:r>
                <a:rPr lang="en-US" sz="1100">
                  <a:solidFill>
                    <a:srgbClr val="31006F"/>
                  </a:solidFill>
                </a:rPr>
                <a:t> </a:t>
              </a:r>
            </a:p>
            <a:p>
              <a:pPr algn="ctr"/>
              <a:r>
                <a:rPr lang="en-US" sz="1100">
                  <a:solidFill>
                    <a:srgbClr val="31006F"/>
                  </a:solidFill>
                </a:rPr>
                <a:t>Results are formatted into tables and summarized as key insights for the us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7357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0F7382-1AC6-06AF-BF98-3FF050DF6726}"/>
              </a:ext>
            </a:extLst>
          </p:cNvPr>
          <p:cNvSpPr/>
          <p:nvPr/>
        </p:nvSpPr>
        <p:spPr>
          <a:xfrm>
            <a:off x="0" y="0"/>
            <a:ext cx="12192000" cy="778700"/>
          </a:xfrm>
          <a:prstGeom prst="rect">
            <a:avLst/>
          </a:prstGeom>
          <a:solidFill>
            <a:srgbClr val="C2BFE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5116F0-5CDE-7FAA-BB65-D376A0796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9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46611AB-88C6-FA83-2219-A6653CE08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31" y="149342"/>
            <a:ext cx="11274552" cy="780769"/>
          </a:xfrm>
        </p:spPr>
        <p:txBody>
          <a:bodyPr/>
          <a:lstStyle/>
          <a:p>
            <a:r>
              <a:rPr lang="en-US" sz="2000"/>
              <a:t>Ask POC: Examples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BC7E2C1-B9F9-9A8D-2009-6F32C87BB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31" y="847749"/>
            <a:ext cx="5135595" cy="54705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A2BCD75D-4E33-E929-4640-B60CB0BAFEB6}"/>
              </a:ext>
            </a:extLst>
          </p:cNvPr>
          <p:cNvSpPr>
            <a:spLocks noGrp="1"/>
          </p:cNvSpPr>
          <p:nvPr/>
        </p:nvSpPr>
        <p:spPr>
          <a:xfrm>
            <a:off x="814831" y="539726"/>
            <a:ext cx="5532501" cy="2748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>
                <a:solidFill>
                  <a:schemeClr val="accent3"/>
                </a:solidFill>
              </a:rPr>
              <a:t>Example 1 – Give me Adoption Rates for DP 8290?</a:t>
            </a: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B0A7D1F7-C13D-69C3-2AA4-3EE1E04A6E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37"/>
          <a:stretch>
            <a:fillRect/>
          </a:stretch>
        </p:blipFill>
        <p:spPr bwMode="auto">
          <a:xfrm>
            <a:off x="6431105" y="847749"/>
            <a:ext cx="5014648" cy="54705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9C87D6DA-689E-E8B8-5C9D-4F133DC1E895}"/>
              </a:ext>
            </a:extLst>
          </p:cNvPr>
          <p:cNvSpPr>
            <a:spLocks noGrp="1"/>
          </p:cNvSpPr>
          <p:nvPr/>
        </p:nvSpPr>
        <p:spPr>
          <a:xfrm>
            <a:off x="6431105" y="491429"/>
            <a:ext cx="5532501" cy="2748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>
                <a:solidFill>
                  <a:schemeClr val="accent3"/>
                </a:solidFill>
              </a:rPr>
              <a:t>Example 2 – Horizon Clients Savings Rate by Payer short and LOB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BDF029-26C3-3D19-C4CC-C8E0C26B8AE1}"/>
              </a:ext>
            </a:extLst>
          </p:cNvPr>
          <p:cNvSpPr/>
          <p:nvPr/>
        </p:nvSpPr>
        <p:spPr>
          <a:xfrm>
            <a:off x="4165600" y="766262"/>
            <a:ext cx="1784826" cy="4028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286CD8-8579-184A-F71E-7DA6AA5E310C}"/>
              </a:ext>
            </a:extLst>
          </p:cNvPr>
          <p:cNvSpPr/>
          <p:nvPr/>
        </p:nvSpPr>
        <p:spPr>
          <a:xfrm>
            <a:off x="4165600" y="766262"/>
            <a:ext cx="1784826" cy="390385"/>
          </a:xfrm>
          <a:prstGeom prst="rect">
            <a:avLst/>
          </a:prstGeom>
          <a:noFill/>
          <a:ln w="15875">
            <a:solidFill>
              <a:srgbClr val="30006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21BCE6-C01D-7A87-7C5B-52216ECD1746}"/>
              </a:ext>
            </a:extLst>
          </p:cNvPr>
          <p:cNvSpPr/>
          <p:nvPr/>
        </p:nvSpPr>
        <p:spPr>
          <a:xfrm>
            <a:off x="8635999" y="788224"/>
            <a:ext cx="2809754" cy="390385"/>
          </a:xfrm>
          <a:prstGeom prst="rect">
            <a:avLst/>
          </a:prstGeom>
          <a:noFill/>
          <a:ln w="15875">
            <a:solidFill>
              <a:srgbClr val="30006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593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heme/theme1.xml><?xml version="1.0" encoding="utf-8"?>
<a:theme xmlns:a="http://schemas.openxmlformats.org/drawingml/2006/main" name="PPT Template - Cotiviti Corporate">
  <a:themeElements>
    <a:clrScheme name="Cotiviti 2025">
      <a:dk1>
        <a:srgbClr val="000000"/>
      </a:dk1>
      <a:lt1>
        <a:srgbClr val="FFFFFF"/>
      </a:lt1>
      <a:dk2>
        <a:srgbClr val="FF8600"/>
      </a:dk2>
      <a:lt2>
        <a:srgbClr val="94D648"/>
      </a:lt2>
      <a:accent1>
        <a:srgbClr val="30006F"/>
      </a:accent1>
      <a:accent2>
        <a:srgbClr val="9579D3"/>
      </a:accent2>
      <a:accent3>
        <a:srgbClr val="EC008C"/>
      </a:accent3>
      <a:accent4>
        <a:srgbClr val="00B1F5"/>
      </a:accent4>
      <a:accent5>
        <a:srgbClr val="ECE700"/>
      </a:accent5>
      <a:accent6>
        <a:srgbClr val="00D3CB"/>
      </a:accent6>
      <a:hlink>
        <a:srgbClr val="9579D3"/>
      </a:hlink>
      <a:folHlink>
        <a:srgbClr val="9578D3"/>
      </a:folHlink>
    </a:clrScheme>
    <a:fontScheme name="Cotiviti 2025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Template2025" id="{7ECD081A-B5A8-7947-9DE3-CF83796D7EC5}" vid="{E48CC56D-70E2-5D46-AB0F-0D80E894DDE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685d-c8ff-466b-ac8b-e5f4ec489695">
      <Terms xmlns="http://schemas.microsoft.com/office/infopath/2007/PartnerControls"/>
    </lcf76f155ced4ddcb4097134ff3c332f>
    <TaxCatchAll xmlns="768f84be-2937-4f54-8049-83c4d941f15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D6CE3D13E6C4FA786C6037481A13F" ma:contentTypeVersion="15" ma:contentTypeDescription="Create a new document." ma:contentTypeScope="" ma:versionID="bae9d50ccf23c98650d6b1d9245e8df5">
  <xsd:schema xmlns:xsd="http://www.w3.org/2001/XMLSchema" xmlns:xs="http://www.w3.org/2001/XMLSchema" xmlns:p="http://schemas.microsoft.com/office/2006/metadata/properties" xmlns:ns2="768f84be-2937-4f54-8049-83c4d941f153" xmlns:ns3="0f93685d-c8ff-466b-ac8b-e5f4ec489695" targetNamespace="http://schemas.microsoft.com/office/2006/metadata/properties" ma:root="true" ma:fieldsID="bfd236bef05f6b551b9458dda656504c" ns2:_="" ns3:_="">
    <xsd:import namespace="768f84be-2937-4f54-8049-83c4d941f153"/>
    <xsd:import namespace="0f93685d-c8ff-466b-ac8b-e5f4ec4896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f84be-2937-4f54-8049-83c4d941f15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8c438ca-409b-496c-9fe7-646d9655597c}" ma:internalName="TaxCatchAll" ma:showField="CatchAllData" ma:web="768f84be-2937-4f54-8049-83c4d941f1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685d-c8ff-466b-ac8b-e5f4ec4896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BE0162-B3B5-4B02-9B39-8239381A7630}">
  <ds:schemaRefs>
    <ds:schemaRef ds:uri="0f93685d-c8ff-466b-ac8b-e5f4ec489695"/>
    <ds:schemaRef ds:uri="768f84be-2937-4f54-8049-83c4d941f15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5B9AF2C-7E1E-4BB0-B0CC-7B64D789F67F}">
  <ds:schemaRefs>
    <ds:schemaRef ds:uri="0f93685d-c8ff-466b-ac8b-e5f4ec489695"/>
    <ds:schemaRef ds:uri="768f84be-2937-4f54-8049-83c4d941f15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680316a-5e9e-4cc5-a52e-9ee89ee8c404}" enabled="0" method="" siteId="{7680316a-5e9e-4cc5-a52e-9ee89ee8c40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Template2025</Template>
  <Application>Microsoft Office PowerPoint</Application>
  <PresentationFormat>Widescreen</PresentationFormat>
  <Slides>36</Slides>
  <Notes>17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7" baseType="lpstr">
      <vt:lpstr>PPT Template - Cotiviti Corporate</vt:lpstr>
      <vt:lpstr>AI, Analytics, and Innovation:  My Cotiviti Internship Journey</vt:lpstr>
      <vt:lpstr>Agenda</vt:lpstr>
      <vt:lpstr>Professional Roadmap</vt:lpstr>
      <vt:lpstr>Internship Goals</vt:lpstr>
      <vt:lpstr>Internship Progress Timeline</vt:lpstr>
      <vt:lpstr>Ask Data POC</vt:lpstr>
      <vt:lpstr>Ask POC: PPM Benchmark Data Copilot Executive Summary</vt:lpstr>
      <vt:lpstr>AI Data Agent Input-to-Output Workflow</vt:lpstr>
      <vt:lpstr>Ask POC: Examples </vt:lpstr>
      <vt:lpstr>Next steps &amp; Roadmap Ahead</vt:lpstr>
      <vt:lpstr>Evaluation and Management Level of Service Recalibration</vt:lpstr>
      <vt:lpstr>PowerPoint Presentation</vt:lpstr>
      <vt:lpstr>Evaluation &amp; Management LOS Recalibration – Process Overview</vt:lpstr>
      <vt:lpstr>Data Overview</vt:lpstr>
      <vt:lpstr>Data Transformation</vt:lpstr>
      <vt:lpstr>Set Allowed Levels by Family: What Actually Occurs</vt:lpstr>
      <vt:lpstr>Examples for Outpatient Consult Procedural family</vt:lpstr>
      <vt:lpstr>High-LOS Hotspots - Share of LOS 4/5 by Diagnosis × Procedure Group</vt:lpstr>
      <vt:lpstr>LOS Consistency Map: Green / Yellow / Red</vt:lpstr>
      <vt:lpstr>Next Steps: </vt:lpstr>
      <vt:lpstr>Lessons Learned during Internship</vt:lpstr>
      <vt:lpstr>PowerPoint Presentation</vt:lpstr>
      <vt:lpstr>PowerPoint Presentation</vt:lpstr>
      <vt:lpstr>Procedural group Abbreviations:</vt:lpstr>
      <vt:lpstr>Feasible LOS by procedure Group </vt:lpstr>
      <vt:lpstr>Example: Downcode Targets - High 4/5 Usage where typical Level ≤3</vt:lpstr>
      <vt:lpstr>Baseline LOS Mix: What’s Typical vs. Rare</vt:lpstr>
      <vt:lpstr>Set Allowed Levels by Family: What Actually Occurs</vt:lpstr>
      <vt:lpstr>E&amp;M Claims Data Analysis</vt:lpstr>
      <vt:lpstr>Pareto of Volume - Focus on Top procedure that drive most activity</vt:lpstr>
      <vt:lpstr>Data Transformation (Wide → Long)</vt:lpstr>
      <vt:lpstr>Data Preprocessing</vt:lpstr>
      <vt:lpstr>PowerPoint Presentation</vt:lpstr>
      <vt:lpstr>PowerPoint Presentation</vt:lpstr>
      <vt:lpstr>Set Allowed Levels by Family: What Actually Occurs</vt:lpstr>
      <vt:lpstr>Data Overview &amp; Workflo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Kabadi, Pooja</dc:creator>
  <cp:keywords/>
  <dc:description/>
  <cp:revision>1</cp:revision>
  <cp:lastPrinted>2021-12-14T17:29:48Z</cp:lastPrinted>
  <dcterms:created xsi:type="dcterms:W3CDTF">2025-09-09T19:32:59Z</dcterms:created>
  <dcterms:modified xsi:type="dcterms:W3CDTF">2025-11-02T18:12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D6CE3D13E6C4FA786C6037481A13F</vt:lpwstr>
  </property>
  <property fmtid="{D5CDD505-2E9C-101B-9397-08002B2CF9AE}" pid="3" name="MediaServiceImageTags">
    <vt:lpwstr/>
  </property>
</Properties>
</file>